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1.xml" ContentType="application/vnd.openxmlformats-officedocument.theme+xml"/>
  <Override PartName="/ppt/tags/tag10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2.xml" ContentType="application/vnd.openxmlformats-officedocument.theme+xml"/>
  <Override PartName="/ppt/tags/tag11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13.xml" ContentType="application/vnd.openxmlformats-officedocument.theme+xml"/>
  <Override PartName="/ppt/tags/tag12.xml" ContentType="application/vnd.openxmlformats-officedocument.presentationml.tags+xml"/>
  <Override PartName="/ppt/slideLayouts/slideLayout90.xml" ContentType="application/vnd.openxmlformats-officedocument.presentationml.slideLayout+xml"/>
  <Override PartName="/ppt/theme/theme14.xml" ContentType="application/vnd.openxmlformats-officedocument.theme+xml"/>
  <Override PartName="/ppt/tags/tag13.xml" ContentType="application/vnd.openxmlformats-officedocument.presentationml.tags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3" r:id="rId3"/>
    <p:sldMasterId id="2147483671" r:id="rId4"/>
    <p:sldMasterId id="2147483679" r:id="rId5"/>
    <p:sldMasterId id="2147483687" r:id="rId6"/>
    <p:sldMasterId id="2147483695" r:id="rId7"/>
    <p:sldMasterId id="2147483703" r:id="rId8"/>
    <p:sldMasterId id="2147483711" r:id="rId9"/>
    <p:sldMasterId id="2147483719" r:id="rId10"/>
    <p:sldMasterId id="2147483727" r:id="rId11"/>
    <p:sldMasterId id="2147483735" r:id="rId12"/>
    <p:sldMasterId id="2147483743" r:id="rId13"/>
    <p:sldMasterId id="2147483751" r:id="rId14"/>
  </p:sldMasterIdLst>
  <p:notesMasterIdLst>
    <p:notesMasterId r:id="rId44"/>
  </p:notesMasterIdLst>
  <p:sldIdLst>
    <p:sldId id="283" r:id="rId15"/>
    <p:sldId id="269" r:id="rId16"/>
    <p:sldId id="284" r:id="rId17"/>
    <p:sldId id="265" r:id="rId18"/>
    <p:sldId id="285" r:id="rId19"/>
    <p:sldId id="277" r:id="rId20"/>
    <p:sldId id="278" r:id="rId21"/>
    <p:sldId id="279" r:id="rId22"/>
    <p:sldId id="280" r:id="rId23"/>
    <p:sldId id="281" r:id="rId24"/>
    <p:sldId id="274" r:id="rId25"/>
    <p:sldId id="261" r:id="rId26"/>
    <p:sldId id="263" r:id="rId27"/>
    <p:sldId id="262" r:id="rId28"/>
    <p:sldId id="286" r:id="rId29"/>
    <p:sldId id="298" r:id="rId30"/>
    <p:sldId id="287" r:id="rId31"/>
    <p:sldId id="288" r:id="rId32"/>
    <p:sldId id="289" r:id="rId33"/>
    <p:sldId id="290" r:id="rId34"/>
    <p:sldId id="292" r:id="rId35"/>
    <p:sldId id="293" r:id="rId36"/>
    <p:sldId id="294" r:id="rId37"/>
    <p:sldId id="295" r:id="rId38"/>
    <p:sldId id="296" r:id="rId39"/>
    <p:sldId id="266" r:id="rId40"/>
    <p:sldId id="268" r:id="rId41"/>
    <p:sldId id="272" r:id="rId42"/>
    <p:sldId id="297" r:id="rId4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5B12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70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viewProps" Target="viewProps.xml"/><Relationship Id="rId20" Type="http://schemas.openxmlformats.org/officeDocument/2006/relationships/slide" Target="slides/slide6.xml"/><Relationship Id="rId41" Type="http://schemas.openxmlformats.org/officeDocument/2006/relationships/slide" Target="slides/slide2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2CE3F5-E057-4996-94B5-60B6186E61D9}" type="doc">
      <dgm:prSet loTypeId="urn:microsoft.com/office/officeart/2009/layout/CircleArrowProcess" loCatId="cycle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642B4B9-107E-4984-A16A-FD76219634B5}">
      <dgm:prSet phldrT="[Текст]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ru-RU" dirty="0" smtClean="0"/>
            <a:t>Цифровые рабочие тетради</a:t>
          </a:r>
          <a:endParaRPr lang="ru-RU" dirty="0"/>
        </a:p>
      </dgm:t>
    </dgm:pt>
    <dgm:pt modelId="{D3C0D777-71B5-4102-AD38-7A11785BC211}" type="parTrans" cxnId="{F30000BD-0303-4F2B-8D59-8462F3811D6A}">
      <dgm:prSet/>
      <dgm:spPr/>
      <dgm:t>
        <a:bodyPr/>
        <a:lstStyle/>
        <a:p>
          <a:endParaRPr lang="ru-RU"/>
        </a:p>
      </dgm:t>
    </dgm:pt>
    <dgm:pt modelId="{7061368C-8664-49D6-BE87-CAD66AA86416}" type="sibTrans" cxnId="{F30000BD-0303-4F2B-8D59-8462F3811D6A}">
      <dgm:prSet/>
      <dgm:spPr/>
      <dgm:t>
        <a:bodyPr/>
        <a:lstStyle/>
        <a:p>
          <a:endParaRPr lang="ru-RU"/>
        </a:p>
      </dgm:t>
    </dgm:pt>
    <dgm:pt modelId="{DE460702-4F41-47C0-90F3-59081557229C}">
      <dgm:prSet phldrT="[Текст]" custT="1"/>
      <dgm:spPr/>
      <dgm:t>
        <a:bodyPr/>
        <a:lstStyle/>
        <a:p>
          <a:endParaRPr lang="ru-RU" sz="2400" dirty="0"/>
        </a:p>
      </dgm:t>
    </dgm:pt>
    <dgm:pt modelId="{2B29CA8B-58C7-4DF4-A38E-7C71570ABB8E}" type="parTrans" cxnId="{B48AF2F4-2EA1-47F7-8424-B4E8AB6F2757}">
      <dgm:prSet/>
      <dgm:spPr/>
      <dgm:t>
        <a:bodyPr/>
        <a:lstStyle/>
        <a:p>
          <a:endParaRPr lang="ru-RU"/>
        </a:p>
      </dgm:t>
    </dgm:pt>
    <dgm:pt modelId="{3F597349-71D4-44DF-804B-C33B40C15F4D}" type="sibTrans" cxnId="{B48AF2F4-2EA1-47F7-8424-B4E8AB6F2757}">
      <dgm:prSet/>
      <dgm:spPr/>
      <dgm:t>
        <a:bodyPr/>
        <a:lstStyle/>
        <a:p>
          <a:endParaRPr lang="ru-RU"/>
        </a:p>
      </dgm:t>
    </dgm:pt>
    <dgm:pt modelId="{2FBA6185-7F3D-4AC9-A1C6-79D346AC6692}">
      <dgm:prSet phldrT="[Текст]" custT="1"/>
      <dgm:spPr/>
      <dgm:t>
        <a:bodyPr/>
        <a:lstStyle/>
        <a:p>
          <a:endParaRPr lang="ru-RU" sz="2400" dirty="0"/>
        </a:p>
      </dgm:t>
    </dgm:pt>
    <dgm:pt modelId="{2208D990-ED42-4C5E-87B9-6DD066D5615B}" type="parTrans" cxnId="{82531C64-1461-483F-9087-EA4AA24E29A9}">
      <dgm:prSet/>
      <dgm:spPr/>
      <dgm:t>
        <a:bodyPr/>
        <a:lstStyle/>
        <a:p>
          <a:endParaRPr lang="ru-RU"/>
        </a:p>
      </dgm:t>
    </dgm:pt>
    <dgm:pt modelId="{E7E17233-8494-4452-852E-CAF5C9181DD0}" type="sibTrans" cxnId="{82531C64-1461-483F-9087-EA4AA24E29A9}">
      <dgm:prSet/>
      <dgm:spPr/>
      <dgm:t>
        <a:bodyPr/>
        <a:lstStyle/>
        <a:p>
          <a:endParaRPr lang="ru-RU"/>
        </a:p>
      </dgm:t>
    </dgm:pt>
    <dgm:pt modelId="{BFAD4C7E-4902-469B-930C-969CD65DA157}">
      <dgm:prSet phldrT="[Текст]" custT="1"/>
      <dgm:spPr/>
      <dgm:t>
        <a:bodyPr/>
        <a:lstStyle/>
        <a:p>
          <a:endParaRPr lang="ru-RU" sz="2400" dirty="0"/>
        </a:p>
      </dgm:t>
    </dgm:pt>
    <dgm:pt modelId="{882A205D-7E9C-413C-8106-B45128D7EF69}" type="parTrans" cxnId="{879E59E0-62B0-4AD2-9104-BF2CA4027243}">
      <dgm:prSet/>
      <dgm:spPr/>
      <dgm:t>
        <a:bodyPr/>
        <a:lstStyle/>
        <a:p>
          <a:endParaRPr lang="ru-RU"/>
        </a:p>
      </dgm:t>
    </dgm:pt>
    <dgm:pt modelId="{7F461BAD-4F22-49A8-90F9-27B4161AB67E}" type="sibTrans" cxnId="{879E59E0-62B0-4AD2-9104-BF2CA4027243}">
      <dgm:prSet/>
      <dgm:spPr/>
      <dgm:t>
        <a:bodyPr/>
        <a:lstStyle/>
        <a:p>
          <a:endParaRPr lang="ru-RU"/>
        </a:p>
      </dgm:t>
    </dgm:pt>
    <dgm:pt modelId="{7CBAC8E1-313D-445F-9EEF-A7AA93425534}">
      <dgm:prSet phldrT="[Текст]" custT="1"/>
      <dgm:spPr/>
      <dgm:t>
        <a:bodyPr/>
        <a:lstStyle/>
        <a:p>
          <a:r>
            <a:rPr lang="ru-RU" sz="2600" dirty="0" smtClean="0"/>
            <a:t>Актуализация знаний;</a:t>
          </a:r>
          <a:endParaRPr lang="ru-RU" sz="2600" dirty="0"/>
        </a:p>
      </dgm:t>
    </dgm:pt>
    <dgm:pt modelId="{CCF68867-382F-4A54-B7CB-45A74805BE05}" type="parTrans" cxnId="{8CA6EA5A-A12E-436B-8FE0-195A0501229A}">
      <dgm:prSet/>
      <dgm:spPr/>
      <dgm:t>
        <a:bodyPr/>
        <a:lstStyle/>
        <a:p>
          <a:endParaRPr lang="ru-RU"/>
        </a:p>
      </dgm:t>
    </dgm:pt>
    <dgm:pt modelId="{D595E5F0-A66F-4C33-9F78-4C140CC63FA9}" type="sibTrans" cxnId="{8CA6EA5A-A12E-436B-8FE0-195A0501229A}">
      <dgm:prSet/>
      <dgm:spPr/>
      <dgm:t>
        <a:bodyPr/>
        <a:lstStyle/>
        <a:p>
          <a:endParaRPr lang="ru-RU"/>
        </a:p>
      </dgm:t>
    </dgm:pt>
    <dgm:pt modelId="{AF772F19-8FD3-4B90-B89C-DA20A40B1599}">
      <dgm:prSet phldrT="[Текст]" custT="1"/>
      <dgm:spPr/>
      <dgm:t>
        <a:bodyPr/>
        <a:lstStyle/>
        <a:p>
          <a:r>
            <a:rPr lang="ru-RU" sz="2600" dirty="0" smtClean="0"/>
            <a:t>смешанное обучение    (Ротация станций);</a:t>
          </a:r>
          <a:endParaRPr lang="ru-RU" sz="2600" dirty="0"/>
        </a:p>
      </dgm:t>
    </dgm:pt>
    <dgm:pt modelId="{48D5EDCB-CC06-41D4-AE0F-9069116E7662}" type="parTrans" cxnId="{4074FD0D-CFFF-4277-9FA0-A0E02608B058}">
      <dgm:prSet/>
      <dgm:spPr/>
      <dgm:t>
        <a:bodyPr/>
        <a:lstStyle/>
        <a:p>
          <a:endParaRPr lang="ru-RU"/>
        </a:p>
      </dgm:t>
    </dgm:pt>
    <dgm:pt modelId="{7EDBE530-24E5-4D2C-8C98-AEF0349487E0}" type="sibTrans" cxnId="{4074FD0D-CFFF-4277-9FA0-A0E02608B058}">
      <dgm:prSet/>
      <dgm:spPr/>
      <dgm:t>
        <a:bodyPr/>
        <a:lstStyle/>
        <a:p>
          <a:endParaRPr lang="ru-RU"/>
        </a:p>
      </dgm:t>
    </dgm:pt>
    <dgm:pt modelId="{A579172C-A170-4112-B4BC-DCE3CF345176}">
      <dgm:prSet phldrT="[Текст]" custT="1"/>
      <dgm:spPr/>
      <dgm:t>
        <a:bodyPr/>
        <a:lstStyle/>
        <a:p>
          <a:r>
            <a:rPr lang="ru-RU" sz="2600" dirty="0" smtClean="0"/>
            <a:t>закрепление материала;</a:t>
          </a:r>
        </a:p>
      </dgm:t>
    </dgm:pt>
    <dgm:pt modelId="{E65F7A4E-9EAF-4F65-A9F5-27A895BE3D77}" type="parTrans" cxnId="{9ADCF64D-B098-47E7-A8A6-879A51A680E7}">
      <dgm:prSet/>
      <dgm:spPr/>
      <dgm:t>
        <a:bodyPr/>
        <a:lstStyle/>
        <a:p>
          <a:endParaRPr lang="ru-RU"/>
        </a:p>
      </dgm:t>
    </dgm:pt>
    <dgm:pt modelId="{AE1675BD-64AD-4240-9B69-5E2C75B96866}" type="sibTrans" cxnId="{9ADCF64D-B098-47E7-A8A6-879A51A680E7}">
      <dgm:prSet/>
      <dgm:spPr/>
      <dgm:t>
        <a:bodyPr/>
        <a:lstStyle/>
        <a:p>
          <a:endParaRPr lang="ru-RU"/>
        </a:p>
      </dgm:t>
    </dgm:pt>
    <dgm:pt modelId="{43F2F47B-4AD0-4081-A6CC-468020ADAB1F}">
      <dgm:prSet phldrT="[Текст]" custT="1"/>
      <dgm:spPr/>
      <dgm:t>
        <a:bodyPr/>
        <a:lstStyle/>
        <a:p>
          <a:r>
            <a:rPr lang="ru-RU" sz="2600" dirty="0" smtClean="0"/>
            <a:t>Дистанционное обучение</a:t>
          </a:r>
        </a:p>
        <a:p>
          <a:endParaRPr lang="ru-RU" sz="2400" dirty="0"/>
        </a:p>
      </dgm:t>
    </dgm:pt>
    <dgm:pt modelId="{7AFE32AA-1F91-4D01-A040-432BA278A877}" type="parTrans" cxnId="{54628779-B94F-408B-83C0-04B3FA5A13C2}">
      <dgm:prSet/>
      <dgm:spPr/>
      <dgm:t>
        <a:bodyPr/>
        <a:lstStyle/>
        <a:p>
          <a:endParaRPr lang="ru-RU"/>
        </a:p>
      </dgm:t>
    </dgm:pt>
    <dgm:pt modelId="{F4B15EA2-1C23-4D61-AA47-1BCCA7CD81D2}" type="sibTrans" cxnId="{54628779-B94F-408B-83C0-04B3FA5A13C2}">
      <dgm:prSet/>
      <dgm:spPr/>
      <dgm:t>
        <a:bodyPr/>
        <a:lstStyle/>
        <a:p>
          <a:endParaRPr lang="ru-RU"/>
        </a:p>
      </dgm:t>
    </dgm:pt>
    <dgm:pt modelId="{439F6821-D6B7-43AF-B055-A3297D803464}">
      <dgm:prSet phldrT="[Текст]" custT="1"/>
      <dgm:spPr/>
      <dgm:t>
        <a:bodyPr/>
        <a:lstStyle/>
        <a:p>
          <a:r>
            <a:rPr lang="ru-RU" sz="2600" dirty="0" smtClean="0"/>
            <a:t>первичный контроль;</a:t>
          </a:r>
        </a:p>
      </dgm:t>
    </dgm:pt>
    <dgm:pt modelId="{07C668BA-4E98-4086-B0DF-861DF8E87825}" type="parTrans" cxnId="{73826F67-438D-41BD-A22E-5A83EC3148FC}">
      <dgm:prSet/>
      <dgm:spPr/>
      <dgm:t>
        <a:bodyPr/>
        <a:lstStyle/>
        <a:p>
          <a:endParaRPr lang="ru-RU"/>
        </a:p>
      </dgm:t>
    </dgm:pt>
    <dgm:pt modelId="{7ECFD782-3479-4F61-806D-9992768CF7D5}" type="sibTrans" cxnId="{73826F67-438D-41BD-A22E-5A83EC3148FC}">
      <dgm:prSet/>
      <dgm:spPr/>
      <dgm:t>
        <a:bodyPr/>
        <a:lstStyle/>
        <a:p>
          <a:endParaRPr lang="ru-RU"/>
        </a:p>
      </dgm:t>
    </dgm:pt>
    <dgm:pt modelId="{AC0853FA-DAA5-4638-9A0C-E4039A10D765}" type="pres">
      <dgm:prSet presAssocID="{5A2CE3F5-E057-4996-94B5-60B6186E61D9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29D5934F-D38C-4752-8FC8-C7025F8B4259}" type="pres">
      <dgm:prSet presAssocID="{C642B4B9-107E-4984-A16A-FD76219634B5}" presName="Accent1" presStyleCnt="0"/>
      <dgm:spPr/>
    </dgm:pt>
    <dgm:pt modelId="{A883CB3E-3FF9-441F-815E-00D83670B91B}" type="pres">
      <dgm:prSet presAssocID="{C642B4B9-107E-4984-A16A-FD76219634B5}" presName="Accent" presStyleLbl="node1" presStyleIdx="0" presStyleCnt="1" custScaleX="86789" custScaleY="88067"/>
      <dgm:spPr>
        <a:solidFill>
          <a:schemeClr val="accent5">
            <a:lumMod val="75000"/>
          </a:schemeClr>
        </a:solidFill>
      </dgm:spPr>
    </dgm:pt>
    <dgm:pt modelId="{E58C9358-6F85-4C28-B27A-5F5710AEE5AE}" type="pres">
      <dgm:prSet presAssocID="{C642B4B9-107E-4984-A16A-FD76219634B5}" presName="Child1" presStyleLbl="revTx" presStyleIdx="0" presStyleCnt="2" custScaleX="135842" custScaleY="174491" custLinFactNeighborX="22737" custLinFactNeighborY="-2000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DE1B5D3-6A4F-48A6-B6CA-3A8DD6330E37}" type="pres">
      <dgm:prSet presAssocID="{C642B4B9-107E-4984-A16A-FD76219634B5}" presName="Parent1" presStyleLbl="revTx" presStyleIdx="1" presStyleCnt="2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F35CE9C-B08B-4B44-8CF1-602DE4B7C6BE}" type="presOf" srcId="{A579172C-A170-4112-B4BC-DCE3CF345176}" destId="{E58C9358-6F85-4C28-B27A-5F5710AEE5AE}" srcOrd="0" destOrd="4" presId="urn:microsoft.com/office/officeart/2009/layout/CircleArrowProcess"/>
    <dgm:cxn modelId="{9ADCF64D-B098-47E7-A8A6-879A51A680E7}" srcId="{C642B4B9-107E-4984-A16A-FD76219634B5}" destId="{A579172C-A170-4112-B4BC-DCE3CF345176}" srcOrd="4" destOrd="0" parTransId="{E65F7A4E-9EAF-4F65-A9F5-27A895BE3D77}" sibTransId="{AE1675BD-64AD-4240-9B69-5E2C75B96866}"/>
    <dgm:cxn modelId="{F30000BD-0303-4F2B-8D59-8462F3811D6A}" srcId="{5A2CE3F5-E057-4996-94B5-60B6186E61D9}" destId="{C642B4B9-107E-4984-A16A-FD76219634B5}" srcOrd="0" destOrd="0" parTransId="{D3C0D777-71B5-4102-AD38-7A11785BC211}" sibTransId="{7061368C-8664-49D6-BE87-CAD66AA86416}"/>
    <dgm:cxn modelId="{DFE743A8-26B7-4FE3-BDC3-67F8650B1BC4}" type="presOf" srcId="{7CBAC8E1-313D-445F-9EEF-A7AA93425534}" destId="{E58C9358-6F85-4C28-B27A-5F5710AEE5AE}" srcOrd="0" destOrd="3" presId="urn:microsoft.com/office/officeart/2009/layout/CircleArrowProcess"/>
    <dgm:cxn modelId="{8A0695F9-FEB4-45B5-BF79-95B08226F4CA}" type="presOf" srcId="{2FBA6185-7F3D-4AC9-A1C6-79D346AC6692}" destId="{E58C9358-6F85-4C28-B27A-5F5710AEE5AE}" srcOrd="0" destOrd="1" presId="urn:microsoft.com/office/officeart/2009/layout/CircleArrowProcess"/>
    <dgm:cxn modelId="{74750494-76A4-4699-B489-5772A7E2FEEB}" type="presOf" srcId="{C642B4B9-107E-4984-A16A-FD76219634B5}" destId="{9DE1B5D3-6A4F-48A6-B6CA-3A8DD6330E37}" srcOrd="0" destOrd="0" presId="urn:microsoft.com/office/officeart/2009/layout/CircleArrowProcess"/>
    <dgm:cxn modelId="{54628779-B94F-408B-83C0-04B3FA5A13C2}" srcId="{C642B4B9-107E-4984-A16A-FD76219634B5}" destId="{43F2F47B-4AD0-4081-A6CC-468020ADAB1F}" srcOrd="7" destOrd="0" parTransId="{7AFE32AA-1F91-4D01-A040-432BA278A877}" sibTransId="{F4B15EA2-1C23-4D61-AA47-1BCCA7CD81D2}"/>
    <dgm:cxn modelId="{244E6E97-7855-4D3F-AEEE-1C13189E49AE}" type="presOf" srcId="{DE460702-4F41-47C0-90F3-59081557229C}" destId="{E58C9358-6F85-4C28-B27A-5F5710AEE5AE}" srcOrd="0" destOrd="0" presId="urn:microsoft.com/office/officeart/2009/layout/CircleArrowProcess"/>
    <dgm:cxn modelId="{3C77A0AE-9E70-462C-A640-DD9DC4AA9F55}" type="presOf" srcId="{43F2F47B-4AD0-4081-A6CC-468020ADAB1F}" destId="{E58C9358-6F85-4C28-B27A-5F5710AEE5AE}" srcOrd="0" destOrd="7" presId="urn:microsoft.com/office/officeart/2009/layout/CircleArrowProcess"/>
    <dgm:cxn modelId="{8CA6EA5A-A12E-436B-8FE0-195A0501229A}" srcId="{C642B4B9-107E-4984-A16A-FD76219634B5}" destId="{7CBAC8E1-313D-445F-9EEF-A7AA93425534}" srcOrd="3" destOrd="0" parTransId="{CCF68867-382F-4A54-B7CB-45A74805BE05}" sibTransId="{D595E5F0-A66F-4C33-9F78-4C140CC63FA9}"/>
    <dgm:cxn modelId="{12BFB6FD-1640-4B0F-9135-C0D2EB089C33}" type="presOf" srcId="{5A2CE3F5-E057-4996-94B5-60B6186E61D9}" destId="{AC0853FA-DAA5-4638-9A0C-E4039A10D765}" srcOrd="0" destOrd="0" presId="urn:microsoft.com/office/officeart/2009/layout/CircleArrowProcess"/>
    <dgm:cxn modelId="{B81008EC-3CD5-4744-A283-4695371B5B8B}" type="presOf" srcId="{439F6821-D6B7-43AF-B055-A3297D803464}" destId="{E58C9358-6F85-4C28-B27A-5F5710AEE5AE}" srcOrd="0" destOrd="5" presId="urn:microsoft.com/office/officeart/2009/layout/CircleArrowProcess"/>
    <dgm:cxn modelId="{4E3550E5-123E-4F55-A44B-8045D3E60A4B}" type="presOf" srcId="{AF772F19-8FD3-4B90-B89C-DA20A40B1599}" destId="{E58C9358-6F85-4C28-B27A-5F5710AEE5AE}" srcOrd="0" destOrd="6" presId="urn:microsoft.com/office/officeart/2009/layout/CircleArrowProcess"/>
    <dgm:cxn modelId="{58D47BBB-8426-4FFC-A5D7-D17CA2CE642C}" type="presOf" srcId="{BFAD4C7E-4902-469B-930C-969CD65DA157}" destId="{E58C9358-6F85-4C28-B27A-5F5710AEE5AE}" srcOrd="0" destOrd="2" presId="urn:microsoft.com/office/officeart/2009/layout/CircleArrowProcess"/>
    <dgm:cxn modelId="{879E59E0-62B0-4AD2-9104-BF2CA4027243}" srcId="{C642B4B9-107E-4984-A16A-FD76219634B5}" destId="{BFAD4C7E-4902-469B-930C-969CD65DA157}" srcOrd="2" destOrd="0" parTransId="{882A205D-7E9C-413C-8106-B45128D7EF69}" sibTransId="{7F461BAD-4F22-49A8-90F9-27B4161AB67E}"/>
    <dgm:cxn modelId="{B48AF2F4-2EA1-47F7-8424-B4E8AB6F2757}" srcId="{C642B4B9-107E-4984-A16A-FD76219634B5}" destId="{DE460702-4F41-47C0-90F3-59081557229C}" srcOrd="0" destOrd="0" parTransId="{2B29CA8B-58C7-4DF4-A38E-7C71570ABB8E}" sibTransId="{3F597349-71D4-44DF-804B-C33B40C15F4D}"/>
    <dgm:cxn modelId="{73826F67-438D-41BD-A22E-5A83EC3148FC}" srcId="{C642B4B9-107E-4984-A16A-FD76219634B5}" destId="{439F6821-D6B7-43AF-B055-A3297D803464}" srcOrd="5" destOrd="0" parTransId="{07C668BA-4E98-4086-B0DF-861DF8E87825}" sibTransId="{7ECFD782-3479-4F61-806D-9992768CF7D5}"/>
    <dgm:cxn modelId="{82531C64-1461-483F-9087-EA4AA24E29A9}" srcId="{C642B4B9-107E-4984-A16A-FD76219634B5}" destId="{2FBA6185-7F3D-4AC9-A1C6-79D346AC6692}" srcOrd="1" destOrd="0" parTransId="{2208D990-ED42-4C5E-87B9-6DD066D5615B}" sibTransId="{E7E17233-8494-4452-852E-CAF5C9181DD0}"/>
    <dgm:cxn modelId="{4074FD0D-CFFF-4277-9FA0-A0E02608B058}" srcId="{C642B4B9-107E-4984-A16A-FD76219634B5}" destId="{AF772F19-8FD3-4B90-B89C-DA20A40B1599}" srcOrd="6" destOrd="0" parTransId="{48D5EDCB-CC06-41D4-AE0F-9069116E7662}" sibTransId="{7EDBE530-24E5-4D2C-8C98-AEF0349487E0}"/>
    <dgm:cxn modelId="{EE135ECA-6B05-42DB-BAB1-E632466CE663}" type="presParOf" srcId="{AC0853FA-DAA5-4638-9A0C-E4039A10D765}" destId="{29D5934F-D38C-4752-8FC8-C7025F8B4259}" srcOrd="0" destOrd="0" presId="urn:microsoft.com/office/officeart/2009/layout/CircleArrowProcess"/>
    <dgm:cxn modelId="{18A5872A-8B36-4F68-B2F5-F259D1ECF839}" type="presParOf" srcId="{29D5934F-D38C-4752-8FC8-C7025F8B4259}" destId="{A883CB3E-3FF9-441F-815E-00D83670B91B}" srcOrd="0" destOrd="0" presId="urn:microsoft.com/office/officeart/2009/layout/CircleArrowProcess"/>
    <dgm:cxn modelId="{CB4E1078-EF6B-4B10-AD11-6BFB0674B707}" type="presParOf" srcId="{AC0853FA-DAA5-4638-9A0C-E4039A10D765}" destId="{E58C9358-6F85-4C28-B27A-5F5710AEE5AE}" srcOrd="1" destOrd="0" presId="urn:microsoft.com/office/officeart/2009/layout/CircleArrowProcess"/>
    <dgm:cxn modelId="{0D4BCC25-184A-498F-81D7-A0B68CECBE1D}" type="presParOf" srcId="{AC0853FA-DAA5-4638-9A0C-E4039A10D765}" destId="{9DE1B5D3-6A4F-48A6-B6CA-3A8DD6330E37}" srcOrd="2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83CB3E-3FF9-441F-815E-00D83670B91B}">
      <dsp:nvSpPr>
        <dsp:cNvPr id="0" name=""/>
        <dsp:cNvSpPr/>
      </dsp:nvSpPr>
      <dsp:spPr>
        <a:xfrm>
          <a:off x="902407" y="322538"/>
          <a:ext cx="4690621" cy="4760752"/>
        </a:xfrm>
        <a:prstGeom prst="circularArrow">
          <a:avLst>
            <a:gd name="adj1" fmla="val 10980"/>
            <a:gd name="adj2" fmla="val 1142322"/>
            <a:gd name="adj3" fmla="val 9000000"/>
            <a:gd name="adj4" fmla="val 10800000"/>
            <a:gd name="adj5" fmla="val 12500"/>
          </a:avLst>
        </a:prstGeom>
        <a:solidFill>
          <a:schemeClr val="accent5">
            <a:lumMod val="75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58C9358-6F85-4C28-B27A-5F5710AEE5AE}">
      <dsp:nvSpPr>
        <dsp:cNvPr id="0" name=""/>
        <dsp:cNvSpPr/>
      </dsp:nvSpPr>
      <dsp:spPr>
        <a:xfrm>
          <a:off x="6107094" y="373287"/>
          <a:ext cx="4405757" cy="37740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400" kern="1200" dirty="0"/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400" kern="1200" dirty="0"/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600" kern="1200" dirty="0" smtClean="0"/>
            <a:t>Актуализация знаний;</a:t>
          </a:r>
          <a:endParaRPr lang="ru-RU" sz="2600" kern="1200" dirty="0"/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600" kern="1200" dirty="0" smtClean="0"/>
            <a:t>закрепление материала;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600" kern="1200" dirty="0" smtClean="0"/>
            <a:t>первичный контроль;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600" kern="1200" dirty="0" smtClean="0"/>
            <a:t>смешанное обучение    (Ротация станций);</a:t>
          </a:r>
          <a:endParaRPr lang="ru-RU" sz="2600" kern="1200" dirty="0"/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2600" kern="1200" dirty="0" smtClean="0"/>
            <a:t>Дистанционное обучение</a:t>
          </a:r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2400" kern="1200" dirty="0"/>
        </a:p>
      </dsp:txBody>
      <dsp:txXfrm>
        <a:off x="6107094" y="373287"/>
        <a:ext cx="4405757" cy="3774017"/>
      </dsp:txXfrm>
    </dsp:sp>
    <dsp:sp modelId="{9DE1B5D3-6A4F-48A6-B6CA-3A8DD6330E37}">
      <dsp:nvSpPr>
        <dsp:cNvPr id="0" name=""/>
        <dsp:cNvSpPr/>
      </dsp:nvSpPr>
      <dsp:spPr>
        <a:xfrm>
          <a:off x="1738937" y="1956910"/>
          <a:ext cx="3015832" cy="1507685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400" kern="1200" dirty="0" smtClean="0"/>
            <a:t>Цифровые рабочие тетради</a:t>
          </a:r>
          <a:endParaRPr lang="ru-RU" sz="3400" kern="1200" dirty="0"/>
        </a:p>
      </dsp:txBody>
      <dsp:txXfrm>
        <a:off x="1738937" y="1956910"/>
        <a:ext cx="3015832" cy="15076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79C2A3-B9A3-499E-95B0-E9ABACDD1D2F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3C751A-13CB-4345-954A-0AB4F4D6114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0569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F59DD6-E7DE-B347-B32C-56244998EEF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99389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24378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69380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8479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22634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60096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332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41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8351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90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89000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1847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84331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011775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9752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0740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734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12175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61678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16612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17448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7124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371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44247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9663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39482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34400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74365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81638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6351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3493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6707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1824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84164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9009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42293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7124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88262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87638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2456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1882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04511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88635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63589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330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87341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11146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3334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744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01495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85331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11367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5340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6406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363201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3993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90516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4325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2324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38922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4958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4562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100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998073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29574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567478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233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019921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30891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9948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0052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2189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9794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53079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876160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2150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3433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4472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19763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7659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99217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25269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959156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821399B-39BD-C4DC-B289-A7EC113842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99335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6A6566-1A48-C105-8071-8636E33B4E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/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700218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25266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5C8811E-E83D-6A72-B837-776B25F25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5550B01-1F76-2571-C551-92FEBB98B6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/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99635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>
            <a:cxnSpLocks/>
          </p:cNvCxnSpPr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18DADB-8B59-4AFE-9BE9-5D45F1646E26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A9230AF-8A3A-4A91-8900-83BD7EB07807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1550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02C8753-980A-45A8-90E6-51D5B4B40774}" type="datetimeFigureOut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1.2024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1A5CBB5-0D58-4393-94BB-9EA54A2F0303}" type="slidenum">
              <a: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4477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38312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9063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heme" Target="../theme/theme10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7.png"/><Relationship Id="rId10" Type="http://schemas.openxmlformats.org/officeDocument/2006/relationships/tags" Target="../tags/tag9.xml"/><Relationship Id="rId4" Type="http://schemas.openxmlformats.org/officeDocument/2006/relationships/slideLayout" Target="../slideLayouts/slideLayout65.xml"/><Relationship Id="rId9" Type="http://schemas.openxmlformats.org/officeDocument/2006/relationships/vmlDrawing" Target="../drawings/vmlDrawing9.vml"/><Relationship Id="rId14" Type="http://schemas.openxmlformats.org/officeDocument/2006/relationships/image" Target="../media/image6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1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7.png"/><Relationship Id="rId10" Type="http://schemas.openxmlformats.org/officeDocument/2006/relationships/tags" Target="../tags/tag10.xml"/><Relationship Id="rId4" Type="http://schemas.openxmlformats.org/officeDocument/2006/relationships/slideLayout" Target="../slideLayouts/slideLayout72.xml"/><Relationship Id="rId9" Type="http://schemas.openxmlformats.org/officeDocument/2006/relationships/vmlDrawing" Target="../drawings/vmlDrawing10.vml"/><Relationship Id="rId14" Type="http://schemas.openxmlformats.org/officeDocument/2006/relationships/image" Target="../media/image6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heme" Target="../theme/theme1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80.xml"/><Relationship Id="rId15" Type="http://schemas.openxmlformats.org/officeDocument/2006/relationships/image" Target="../media/image7.png"/><Relationship Id="rId10" Type="http://schemas.openxmlformats.org/officeDocument/2006/relationships/tags" Target="../tags/tag11.xml"/><Relationship Id="rId4" Type="http://schemas.openxmlformats.org/officeDocument/2006/relationships/slideLayout" Target="../slideLayouts/slideLayout79.xml"/><Relationship Id="rId9" Type="http://schemas.openxmlformats.org/officeDocument/2006/relationships/vmlDrawing" Target="../drawings/vmlDrawing11.vml"/><Relationship Id="rId14" Type="http://schemas.openxmlformats.org/officeDocument/2006/relationships/image" Target="../media/image6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heme" Target="../theme/theme1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87.xml"/><Relationship Id="rId15" Type="http://schemas.openxmlformats.org/officeDocument/2006/relationships/image" Target="../media/image7.png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86.xml"/><Relationship Id="rId9" Type="http://schemas.openxmlformats.org/officeDocument/2006/relationships/vmlDrawing" Target="../drawings/vmlDrawing12.vml"/><Relationship Id="rId14" Type="http://schemas.openxmlformats.org/officeDocument/2006/relationships/image" Target="../media/image6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3.vml"/><Relationship Id="rId7" Type="http://schemas.openxmlformats.org/officeDocument/2006/relationships/image" Target="../media/image2.jp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tags" Target="../tags/tag13.xml"/><Relationship Id="rId9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tags" Target="../tags/tag1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7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7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3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31.xml"/><Relationship Id="rId15" Type="http://schemas.openxmlformats.org/officeDocument/2006/relationships/image" Target="../media/image7.png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30.xml"/><Relationship Id="rId9" Type="http://schemas.openxmlformats.org/officeDocument/2006/relationships/vmlDrawing" Target="../drawings/vmlDrawing4.vml"/><Relationship Id="rId1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7.png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37.xml"/><Relationship Id="rId9" Type="http://schemas.openxmlformats.org/officeDocument/2006/relationships/vmlDrawing" Target="../drawings/vmlDrawing5.vml"/><Relationship Id="rId14" Type="http://schemas.openxmlformats.org/officeDocument/2006/relationships/image" Target="../media/image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heme" Target="../theme/theme7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7.png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44.xml"/><Relationship Id="rId9" Type="http://schemas.openxmlformats.org/officeDocument/2006/relationships/vmlDrawing" Target="../drawings/vmlDrawing6.vml"/><Relationship Id="rId14" Type="http://schemas.openxmlformats.org/officeDocument/2006/relationships/image" Target="../media/image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heme" Target="../theme/theme8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7.png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51.xml"/><Relationship Id="rId9" Type="http://schemas.openxmlformats.org/officeDocument/2006/relationships/vmlDrawing" Target="../drawings/vmlDrawing7.vml"/><Relationship Id="rId14" Type="http://schemas.openxmlformats.org/officeDocument/2006/relationships/image" Target="../media/image6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59.xml"/><Relationship Id="rId15" Type="http://schemas.openxmlformats.org/officeDocument/2006/relationships/image" Target="../media/image7.png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58.xml"/><Relationship Id="rId9" Type="http://schemas.openxmlformats.org/officeDocument/2006/relationships/vmlDrawing" Target="../drawings/vmlDrawing8.vml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345A27-A0A9-444C-BEBF-2CE02AEA9BDB}" type="datetimeFigureOut">
              <a:rPr lang="ru-RU" smtClean="0"/>
              <a:t>15.01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6127F4-CC72-493D-8ED7-F77D7E263FF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717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89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421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279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159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Рисунок 12">
            <a:extLst>
              <a:ext uri="{FF2B5EF4-FFF2-40B4-BE49-F238E27FC236}">
                <a16:creationId xmlns:a16="http://schemas.microsoft.com/office/drawing/2014/main" id="{F66BE0B4-644A-FF25-15AD-B12C2F2B58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5" r="4910" b="2455"/>
          <a:stretch/>
        </p:blipFill>
        <p:spPr bwMode="auto">
          <a:xfrm>
            <a:off x="-4763" y="0"/>
            <a:ext cx="12192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9E243913-C352-F3BA-B6AB-7DC913B65500}"/>
              </a:ext>
            </a:extLst>
          </p:cNvPr>
          <p:cNvSpPr/>
          <p:nvPr userDrawn="1"/>
        </p:nvSpPr>
        <p:spPr>
          <a:xfrm>
            <a:off x="-4763" y="0"/>
            <a:ext cx="12192000" cy="6858000"/>
          </a:xfrm>
          <a:prstGeom prst="rect">
            <a:avLst/>
          </a:prstGeom>
          <a:solidFill>
            <a:srgbClr val="203764">
              <a:alpha val="8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542DF3A-1AFC-8390-CC83-112537ED13C6}"/>
              </a:ext>
            </a:extLst>
          </p:cNvPr>
          <p:cNvSpPr txBox="1"/>
          <p:nvPr userDrawn="1"/>
        </p:nvSpPr>
        <p:spPr>
          <a:xfrm>
            <a:off x="550863" y="5924618"/>
            <a:ext cx="6217799" cy="56425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се права защищены. Никакая часть презентации не может быть воспроизведена в какой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ы то ни было форме и какими бы то ни было средствами, включая размещение в Интернете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з письменного разрешения владельца авторских прав. 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г.</a:t>
            </a: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41109122-250B-C69B-7F74-D91D20FB093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2" y="549275"/>
            <a:ext cx="1800000" cy="6408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6E65BD9-2563-6663-09AB-42142BC6032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61022"/>
            <a:ext cx="958671" cy="504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B41BB99-6F37-1522-DF53-7C4AE75DC61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0638" y="5961022"/>
            <a:ext cx="10752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365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1300">
          <p15:clr>
            <a:srgbClr val="F26B43"/>
          </p15:clr>
        </p15:guide>
        <p15:guide id="3" orient="horz" pos="1298">
          <p15:clr>
            <a:srgbClr val="F26B43"/>
          </p15:clr>
        </p15:guide>
        <p15:guide id="4" pos="1549">
          <p15:clr>
            <a:srgbClr val="F26B43"/>
          </p15:clr>
        </p15:guide>
        <p15:guide id="5" pos="347">
          <p15:clr>
            <a:srgbClr val="F26B43"/>
          </p15:clr>
        </p15:guide>
        <p15:guide id="6" pos="2502">
          <p15:clr>
            <a:srgbClr val="F26B43"/>
          </p15:clr>
        </p15:guide>
        <p15:guide id="7" pos="2751">
          <p15:clr>
            <a:srgbClr val="F26B43"/>
          </p15:clr>
        </p15:guide>
        <p15:guide id="8" pos="3965">
          <p15:clr>
            <a:srgbClr val="F26B43"/>
          </p15:clr>
        </p15:guide>
        <p15:guide id="9" pos="3712">
          <p15:clr>
            <a:srgbClr val="F26B43"/>
          </p15:clr>
        </p15:guide>
        <p15:guide id="10" pos="4919">
          <p15:clr>
            <a:srgbClr val="F26B43"/>
          </p15:clr>
        </p15:guide>
        <p15:guide id="11" pos="6131">
          <p15:clr>
            <a:srgbClr val="F26B43"/>
          </p15:clr>
        </p15:guide>
        <p15:guide id="12" pos="5166">
          <p15:clr>
            <a:srgbClr val="F26B43"/>
          </p15:clr>
        </p15:guide>
        <p15:guide id="13" pos="6378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548">
          <p15:clr>
            <a:srgbClr val="F26B43"/>
          </p15:clr>
        </p15:guide>
        <p15:guide id="16" orient="horz" pos="2523">
          <p15:clr>
            <a:srgbClr val="F26B43"/>
          </p15:clr>
        </p15:guide>
        <p15:guide id="17" orient="horz" pos="2772">
          <p15:clr>
            <a:srgbClr val="F26B43"/>
          </p15:clr>
        </p15:guide>
        <p15:guide id="18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5" imgW="383" imgH="384" progId="TCLayout.ActiveDocument.1">
                  <p:embed/>
                </p:oleObj>
              </mc:Choice>
              <mc:Fallback>
                <p:oleObj name="Слайд think-cell" r:id="rId5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Рисунок 12">
            <a:extLst>
              <a:ext uri="{FF2B5EF4-FFF2-40B4-BE49-F238E27FC236}">
                <a16:creationId xmlns:a16="http://schemas.microsoft.com/office/drawing/2014/main" id="{F66BE0B4-644A-FF25-15AD-B12C2F2B58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55" r="4910" b="2455"/>
          <a:stretch/>
        </p:blipFill>
        <p:spPr bwMode="auto">
          <a:xfrm>
            <a:off x="-4763" y="0"/>
            <a:ext cx="1219200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9E243913-C352-F3BA-B6AB-7DC913B65500}"/>
              </a:ext>
            </a:extLst>
          </p:cNvPr>
          <p:cNvSpPr/>
          <p:nvPr userDrawn="1"/>
        </p:nvSpPr>
        <p:spPr>
          <a:xfrm>
            <a:off x="-4763" y="0"/>
            <a:ext cx="12192000" cy="6858000"/>
          </a:xfrm>
          <a:prstGeom prst="rect">
            <a:avLst/>
          </a:prstGeom>
          <a:solidFill>
            <a:srgbClr val="203764">
              <a:alpha val="8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542DF3A-1AFC-8390-CC83-112537ED13C6}"/>
              </a:ext>
            </a:extLst>
          </p:cNvPr>
          <p:cNvSpPr txBox="1"/>
          <p:nvPr userDrawn="1"/>
        </p:nvSpPr>
        <p:spPr>
          <a:xfrm>
            <a:off x="550863" y="5924618"/>
            <a:ext cx="6217799" cy="56425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се права защищены. Никакая часть презентации не может быть воспроизведена в какой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ы то ни было форме и какими бы то ни было средствами, включая размещение в Интернете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в корпоративных сетях, а также запись в память ЭВМ,  для частного или публичного использования, </a:t>
            </a:r>
            <a:b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з письменного разрешения владельца авторских прав. 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0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г.</a:t>
            </a:r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41109122-250B-C69B-7F74-D91D20FB093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62" y="549275"/>
            <a:ext cx="1800000" cy="6408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6E65BD9-2563-6663-09AB-42142BC6032A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61022"/>
            <a:ext cx="958671" cy="50400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B41BB99-6F37-1522-DF53-7C4AE75DC61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0638" y="5961022"/>
            <a:ext cx="1075200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6549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1300">
          <p15:clr>
            <a:srgbClr val="F26B43"/>
          </p15:clr>
        </p15:guide>
        <p15:guide id="3" orient="horz" pos="1298">
          <p15:clr>
            <a:srgbClr val="F26B43"/>
          </p15:clr>
        </p15:guide>
        <p15:guide id="4" pos="1549">
          <p15:clr>
            <a:srgbClr val="F26B43"/>
          </p15:clr>
        </p15:guide>
        <p15:guide id="5" pos="347">
          <p15:clr>
            <a:srgbClr val="F26B43"/>
          </p15:clr>
        </p15:guide>
        <p15:guide id="6" pos="2502">
          <p15:clr>
            <a:srgbClr val="F26B43"/>
          </p15:clr>
        </p15:guide>
        <p15:guide id="7" pos="2751">
          <p15:clr>
            <a:srgbClr val="F26B43"/>
          </p15:clr>
        </p15:guide>
        <p15:guide id="8" pos="3965">
          <p15:clr>
            <a:srgbClr val="F26B43"/>
          </p15:clr>
        </p15:guide>
        <p15:guide id="9" pos="3712">
          <p15:clr>
            <a:srgbClr val="F26B43"/>
          </p15:clr>
        </p15:guide>
        <p15:guide id="10" pos="4919">
          <p15:clr>
            <a:srgbClr val="F26B43"/>
          </p15:clr>
        </p15:guide>
        <p15:guide id="11" pos="6131">
          <p15:clr>
            <a:srgbClr val="F26B43"/>
          </p15:clr>
        </p15:guide>
        <p15:guide id="12" pos="5166">
          <p15:clr>
            <a:srgbClr val="F26B43"/>
          </p15:clr>
        </p15:guide>
        <p15:guide id="13" pos="6378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548">
          <p15:clr>
            <a:srgbClr val="F26B43"/>
          </p15:clr>
        </p15:guide>
        <p15:guide id="16" orient="horz" pos="2523">
          <p15:clr>
            <a:srgbClr val="F26B43"/>
          </p15:clr>
        </p15:guide>
        <p15:guide id="17" orient="horz" pos="2772">
          <p15:clr>
            <a:srgbClr val="F26B43"/>
          </p15:clr>
        </p15:guide>
        <p15:guide id="18" orient="horz" pos="37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383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6443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766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651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395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466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Слайд think-cell" r:id="rId11" imgW="383" imgH="384" progId="TCLayout.ActiveDocument.1">
                  <p:embed/>
                </p:oleObj>
              </mc:Choice>
              <mc:Fallback>
                <p:oleObj name="Слайд think-cell" r:id="rId11" imgW="383" imgH="384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>
            <a:extLst>
              <a:ext uri="{FF2B5EF4-FFF2-40B4-BE49-F238E27FC236}">
                <a16:creationId xmlns:a16="http://schemas.microsoft.com/office/drawing/2014/main" id="{4F5080FF-7250-04D4-E316-ADBA268532BE}"/>
              </a:ext>
            </a:extLst>
          </p:cNvPr>
          <p:cNvSpPr txBox="1">
            <a:spLocks/>
          </p:cNvSpPr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" kern="120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4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93BC3-FA09-7141-A0E8-7BF7E26C7440}" type="slidenum">
              <a:rPr kumimoji="0" lang="ru-RU" sz="1400" b="1" i="0" u="none" strike="noStrike" kern="1200" cap="none" spc="0" normalizeH="0" baseline="0" noProof="0" smtClean="0">
                <a:ln>
                  <a:noFill/>
                </a:ln>
                <a:solidFill>
                  <a:srgbClr val="233C7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r" defTabSz="914348" rtl="0" eaLnBrk="1" fontAlgn="auto" latinLnBrk="0" hangingPunct="1">
                <a:lnSpc>
                  <a:spcPct val="90000"/>
                </a:lnSpc>
                <a:spcBef>
                  <a:spcPts val="1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233C7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470A28A-1D1E-F6B8-E3EB-B38446BAA036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65A79CE-812E-12DC-1628-0677CE2AE7E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9718C6C-52A9-87CF-8025-4C82A13F7F8B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078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733">
          <p15:clr>
            <a:srgbClr val="F26B43"/>
          </p15:clr>
        </p15:guide>
        <p15:guide id="3" orient="horz" pos="878">
          <p15:clr>
            <a:srgbClr val="F26B43"/>
          </p15:clr>
        </p15:guide>
        <p15:guide id="4" pos="1334">
          <p15:clr>
            <a:srgbClr val="F26B43"/>
          </p15:clr>
        </p15:guide>
        <p15:guide id="5" pos="347">
          <p15:clr>
            <a:srgbClr val="F26B43"/>
          </p15:clr>
        </p15:guide>
        <p15:guide id="6" pos="2533">
          <p15:clr>
            <a:srgbClr val="F26B43"/>
          </p15:clr>
        </p15:guide>
        <p15:guide id="7" pos="2741">
          <p15:clr>
            <a:srgbClr val="F26B43"/>
          </p15:clr>
        </p15:guide>
        <p15:guide id="8" pos="3946">
          <p15:clr>
            <a:srgbClr val="F26B43"/>
          </p15:clr>
        </p15:guide>
        <p15:guide id="9" pos="3734">
          <p15:clr>
            <a:srgbClr val="F26B43"/>
          </p15:clr>
        </p15:guide>
        <p15:guide id="10" pos="4935">
          <p15:clr>
            <a:srgbClr val="F26B43"/>
          </p15:clr>
        </p15:guide>
        <p15:guide id="11" pos="6136">
          <p15:clr>
            <a:srgbClr val="F26B43"/>
          </p15:clr>
        </p15:guide>
        <p15:guide id="12" pos="5143">
          <p15:clr>
            <a:srgbClr val="F26B43"/>
          </p15:clr>
        </p15:guide>
        <p15:guide id="13" pos="6344">
          <p15:clr>
            <a:srgbClr val="F26B43"/>
          </p15:clr>
        </p15:guide>
        <p15:guide id="14" pos="7339">
          <p15:clr>
            <a:srgbClr val="F26B43"/>
          </p15:clr>
        </p15:guide>
        <p15:guide id="15" orient="horz" pos="1900">
          <p15:clr>
            <a:srgbClr val="F26B43"/>
          </p15:clr>
        </p15:guide>
        <p15:guide id="16" orient="horz" pos="2513">
          <p15:clr>
            <a:srgbClr val="F26B43"/>
          </p15:clr>
        </p15:guide>
        <p15:guide id="17" orient="horz" pos="2716">
          <p15:clr>
            <a:srgbClr val="F26B43"/>
          </p15:clr>
        </p15:guide>
        <p15:guide id="18" orient="horz" pos="3748">
          <p15:clr>
            <a:srgbClr val="F26B43"/>
          </p15:clr>
        </p15:guide>
        <p15:guide id="19" orient="horz" pos="674">
          <p15:clr>
            <a:srgbClr val="F26B43"/>
          </p15:clr>
        </p15:guide>
        <p15:guide id="20" orient="horz" pos="1083">
          <p15:clr>
            <a:srgbClr val="F26B43"/>
          </p15:clr>
        </p15:guide>
        <p15:guide id="21" orient="horz" pos="1285">
          <p15:clr>
            <a:srgbClr val="F26B43"/>
          </p15:clr>
        </p15:guide>
        <p15:guide id="22" orient="horz" pos="1490">
          <p15:clr>
            <a:srgbClr val="F26B43"/>
          </p15:clr>
        </p15:guide>
        <p15:guide id="23" orient="horz" pos="1694">
          <p15:clr>
            <a:srgbClr val="F26B43"/>
          </p15:clr>
        </p15:guide>
        <p15:guide id="24" orient="horz" pos="2102">
          <p15:clr>
            <a:srgbClr val="F26B43"/>
          </p15:clr>
        </p15:guide>
        <p15:guide id="25" orient="horz" pos="2309">
          <p15:clr>
            <a:srgbClr val="F26B43"/>
          </p15:clr>
        </p15:guide>
        <p15:guide id="26" orient="horz" pos="2920">
          <p15:clr>
            <a:srgbClr val="F26B43"/>
          </p15:clr>
        </p15:guide>
        <p15:guide id="27" orient="horz" pos="3135">
          <p15:clr>
            <a:srgbClr val="F26B43"/>
          </p15:clr>
        </p15:guide>
        <p15:guide id="28" orient="horz" pos="3327">
          <p15:clr>
            <a:srgbClr val="F26B43"/>
          </p15:clr>
        </p15:guide>
        <p15:guide id="29" orient="horz" pos="3530">
          <p15:clr>
            <a:srgbClr val="F26B43"/>
          </p15:clr>
        </p15:guide>
        <p15:guide id="30" pos="943">
          <p15:clr>
            <a:srgbClr val="F26B43"/>
          </p15:clr>
        </p15:guide>
        <p15:guide id="31" pos="1543">
          <p15:clr>
            <a:srgbClr val="F26B43"/>
          </p15:clr>
        </p15:guide>
        <p15:guide id="32" pos="2141">
          <p15:clr>
            <a:srgbClr val="F26B43"/>
          </p15:clr>
        </p15:guide>
        <p15:guide id="33" pos="1935">
          <p15:clr>
            <a:srgbClr val="F26B43"/>
          </p15:clr>
        </p15:guide>
        <p15:guide id="34" pos="3137">
          <p15:clr>
            <a:srgbClr val="F26B43"/>
          </p15:clr>
        </p15:guide>
        <p15:guide id="35" pos="3342">
          <p15:clr>
            <a:srgbClr val="F26B43"/>
          </p15:clr>
        </p15:guide>
        <p15:guide id="36" pos="4330">
          <p15:clr>
            <a:srgbClr val="F26B43"/>
          </p15:clr>
        </p15:guide>
        <p15:guide id="37" pos="4543">
          <p15:clr>
            <a:srgbClr val="F26B43"/>
          </p15:clr>
        </p15:guide>
        <p15:guide id="38" pos="5535">
          <p15:clr>
            <a:srgbClr val="F26B43"/>
          </p15:clr>
        </p15:guide>
        <p15:guide id="39" pos="5745">
          <p15:clr>
            <a:srgbClr val="F26B43"/>
          </p15:clr>
        </p15:guide>
        <p15:guide id="40" pos="6732">
          <p15:clr>
            <a:srgbClr val="F26B43"/>
          </p15:clr>
        </p15:guide>
        <p15:guide id="41" pos="6941">
          <p15:clr>
            <a:srgbClr val="F26B43"/>
          </p15:clr>
        </p15:guide>
        <p15:guide id="42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4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9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Relationship Id="rId5" Type="http://schemas.microsoft.com/office/2007/relationships/hdphoto" Target="../media/hdphoto1.wdp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418050" y="4442441"/>
            <a:ext cx="7595240" cy="13629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Кулигина Елена Сергеевна, </a:t>
            </a:r>
          </a:p>
          <a:p>
            <a:pPr marL="0" marR="0" lvl="0" indent="0" algn="l" defTabSz="914400" rtl="0" eaLnBrk="0" fontAlgn="base" latinLnBrk="0" hangingPunct="0">
              <a:lnSpc>
                <a:spcPct val="107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учитель математики МБОУ «Селтинская СОШ», Удмуртская Республика.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41995" y="1991606"/>
            <a:ext cx="18473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 noChangeShapeType="1"/>
          </p:cNvSpPr>
          <p:nvPr/>
        </p:nvSpPr>
        <p:spPr bwMode="auto">
          <a:xfrm>
            <a:off x="634360" y="2421374"/>
            <a:ext cx="9696450" cy="1235075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l" defTabSz="9144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sz="4800" kern="1200">
                <a:solidFill>
                  <a:srgbClr val="404040"/>
                </a:solidFill>
                <a:latin typeface="Calibri Light"/>
                <a:ea typeface="+mj-ea"/>
                <a:cs typeface="+mj-cs"/>
              </a:defRPr>
            </a:lvl1pPr>
            <a:lvl2pPr marL="0" indent="0" algn="l" defTabSz="9144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sz="4800">
                <a:solidFill>
                  <a:srgbClr val="404040"/>
                </a:solidFill>
                <a:latin typeface="Calibri Light"/>
              </a:defRPr>
            </a:lvl2pPr>
            <a:lvl3pPr marL="0" indent="0" algn="l" defTabSz="9144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sz="4800">
                <a:solidFill>
                  <a:srgbClr val="404040"/>
                </a:solidFill>
                <a:latin typeface="Calibri Light"/>
              </a:defRPr>
            </a:lvl3pPr>
            <a:lvl4pPr marL="0" indent="0" algn="l" defTabSz="9144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sz="4800">
                <a:solidFill>
                  <a:srgbClr val="404040"/>
                </a:solidFill>
                <a:latin typeface="Calibri Light"/>
              </a:defRPr>
            </a:lvl4pPr>
            <a:lvl5pPr marL="0" indent="0" algn="l" defTabSz="914400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defRPr sz="4800">
                <a:solidFill>
                  <a:srgbClr val="404040"/>
                </a:solidFill>
                <a:latin typeface="Calibri Light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4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sp>
        <p:nvSpPr>
          <p:cNvPr id="6" name="AutoShape 2"/>
          <p:cNvSpPr txBox="1">
            <a:spLocks noChangeShapeType="1"/>
          </p:cNvSpPr>
          <p:nvPr/>
        </p:nvSpPr>
        <p:spPr bwMode="auto">
          <a:xfrm>
            <a:off x="418049" y="1019478"/>
            <a:ext cx="9542027" cy="3621347"/>
          </a:xfrm>
          <a:custGeom>
            <a:avLst>
              <a:gd name="adj0" fmla="val 10800"/>
            </a:avLst>
            <a:gdLst>
              <a:gd name="gd0" fmla="val 65536"/>
              <a:gd name="gd1" fmla="val adj0"/>
              <a:gd name="gd2" fmla="+- 21600 0 adj0"/>
              <a:gd name="gd3" fmla="val 0"/>
              <a:gd name="gd4" fmla="val gd1"/>
              <a:gd name="gd5" fmla="+- gd1 0 gd3"/>
              <a:gd name="gd6" fmla="+- 0 0 gd4"/>
              <a:gd name="gd7" fmla="?: gd5 1 -1"/>
              <a:gd name="gd8" fmla="?: gd6 1 -1"/>
              <a:gd name="gd9" fmla="*/ gd7 gd8 1"/>
              <a:gd name="gd10" fmla="?: gd5 10800000 0"/>
              <a:gd name="gd11" fmla="?: gd9 -5400000 5400000"/>
              <a:gd name="gd12" fmla="*/ gd5 -1 1"/>
              <a:gd name="gd13" fmla="*/ gd6 -1 1"/>
              <a:gd name="gd14" fmla="?: gd5 gd5 gd12"/>
              <a:gd name="gd15" fmla="?: gd6 gd6 gd13"/>
              <a:gd name="gd16" fmla="val gd1"/>
              <a:gd name="gd17" fmla="val 0"/>
              <a:gd name="gd18" fmla="val gd2"/>
              <a:gd name="gd19" fmla="val 0"/>
              <a:gd name="gd20" fmla="+- 21600 0 gd18"/>
              <a:gd name="gd21" fmla="+- gd1 0 gd19"/>
              <a:gd name="gd22" fmla="?: gd20 1 -1"/>
              <a:gd name="gd23" fmla="?: gd21 1 -1"/>
              <a:gd name="gd24" fmla="*/ gd22 gd23 1"/>
              <a:gd name="gd25" fmla="?: gd21 16200000 5400000"/>
              <a:gd name="gd26" fmla="?: gd24 5400000 -5400000"/>
              <a:gd name="gd27" fmla="*/ gd20 -1 1"/>
              <a:gd name="gd28" fmla="*/ gd21 -1 1"/>
              <a:gd name="gd29" fmla="?: gd20 gd20 gd27"/>
              <a:gd name="gd30" fmla="?: gd21 gd21 gd28"/>
              <a:gd name="gd31" fmla="val 21600"/>
              <a:gd name="gd32" fmla="val gd1"/>
              <a:gd name="gd33" fmla="val 21600"/>
              <a:gd name="gd34" fmla="val gd2"/>
              <a:gd name="gd35" fmla="+- gd2 0 gd33"/>
              <a:gd name="gd36" fmla="+- 21600 0 gd34"/>
              <a:gd name="gd37" fmla="?: gd35 1 -1"/>
              <a:gd name="gd38" fmla="?: gd36 1 -1"/>
              <a:gd name="gd39" fmla="*/ gd37 gd38 1"/>
              <a:gd name="gd40" fmla="?: gd35 10800000 0"/>
              <a:gd name="gd41" fmla="?: gd39 -5400000 5400000"/>
              <a:gd name="gd42" fmla="*/ gd35 -1 1"/>
              <a:gd name="gd43" fmla="*/ gd36 -1 1"/>
              <a:gd name="gd44" fmla="?: gd35 gd35 gd42"/>
              <a:gd name="gd45" fmla="?: gd36 gd36 gd43"/>
              <a:gd name="gd46" fmla="val gd2"/>
              <a:gd name="gd47" fmla="val 21600"/>
              <a:gd name="gd48" fmla="val gd1"/>
              <a:gd name="gd49" fmla="val 21600"/>
              <a:gd name="gd50" fmla="+- 0 0 gd48"/>
              <a:gd name="gd51" fmla="+- gd2 0 gd49"/>
              <a:gd name="gd52" fmla="?: gd50 1 -1"/>
              <a:gd name="gd53" fmla="?: gd51 1 -1"/>
              <a:gd name="gd54" fmla="*/ gd52 gd53 1"/>
              <a:gd name="gd55" fmla="?: gd51 16200000 5400000"/>
              <a:gd name="gd56" fmla="?: gd54 5400000 -5400000"/>
              <a:gd name="gd57" fmla="*/ gd50 -1 1"/>
              <a:gd name="gd58" fmla="*/ gd51 -1 1"/>
              <a:gd name="gd59" fmla="?: gd50 gd50 gd57"/>
              <a:gd name="gd60" fmla="?: gd51 gd51 gd58"/>
              <a:gd name="gd61" fmla="val 0"/>
              <a:gd name="gd62" fmla="val gd2"/>
              <a:gd name="gd63" fmla="*/ w 0 21600"/>
              <a:gd name="gd64" fmla="*/ h 0 21600"/>
              <a:gd name="gd65" fmla="*/ w 21600 21600"/>
              <a:gd name="gd66" fmla="*/ h 21600 21600"/>
              <a:gd name="gd67" fmla="*/ w adj0 21600"/>
              <a:gd name="gd68" fmla="*/ h 0 1"/>
            </a:gdLst>
            <a:ahLst>
              <a:ahXY gdRefX="adj0" maxX="10800">
                <a:pos x="gd67" y="gd68"/>
              </a:ahXY>
            </a:ahLst>
            <a:cxnLst/>
            <a:rect l="gd63" t="gd64" r="gd65" b="gd66"/>
            <a:pathLst>
              <a:path w="21600" h="21600" extrusionOk="0">
                <a:moveTo>
                  <a:pt x="gd3" y="gd4"/>
                </a:moveTo>
                <a:arcTo wR="gd14" hR="gd15" stAng="gd10" swAng="gd11"/>
                <a:lnTo>
                  <a:pt x="gd18" y="gd19"/>
                </a:lnTo>
                <a:arcTo wR="gd29" hR="gd30" stAng="gd25" swAng="gd26"/>
                <a:lnTo>
                  <a:pt x="gd33" y="gd34"/>
                </a:lnTo>
                <a:arcTo wR="gd44" hR="gd45" stAng="gd40" swAng="gd41"/>
                <a:lnTo>
                  <a:pt x="gd48" y="gd49"/>
                </a:lnTo>
                <a:arcTo wR="gd59" hR="gd60" stAng="gd55" swAng="gd56"/>
                <a:close/>
              </a:path>
              <a:path w="21600" h="21600" extrusionOk="0"/>
            </a:pathLst>
          </a:custGeom>
        </p:spPr>
        <p:txBody>
          <a:bodyPr lIns="91440" tIns="45720" rIns="91440" bIns="45720" anchor="ctr" anchorCtr="0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lvl="0">
              <a:defRPr/>
            </a:pPr>
            <a:r>
              <a:rPr lang="ru-RU" b="1" dirty="0">
                <a:solidFill>
                  <a:schemeClr val="bg1"/>
                </a:solidFill>
              </a:rPr>
              <a:t>Смешанное обучение: </a:t>
            </a:r>
            <a:br>
              <a:rPr lang="ru-RU" b="1" dirty="0">
                <a:solidFill>
                  <a:schemeClr val="bg1"/>
                </a:solidFill>
              </a:rPr>
            </a:br>
            <a:r>
              <a:rPr lang="ru-RU" b="1" dirty="0">
                <a:solidFill>
                  <a:schemeClr val="bg1"/>
                </a:solidFill>
              </a:rPr>
              <a:t>ротация станций на примере </a:t>
            </a:r>
            <a:endParaRPr lang="ru-RU" b="1" dirty="0" smtClean="0">
              <a:solidFill>
                <a:schemeClr val="bg1"/>
              </a:solidFill>
            </a:endParaRPr>
          </a:p>
          <a:p>
            <a:pPr lvl="0">
              <a:defRPr/>
            </a:pPr>
            <a:r>
              <a:rPr lang="ru-RU" b="1" dirty="0" smtClean="0">
                <a:solidFill>
                  <a:schemeClr val="bg1"/>
                </a:solidFill>
              </a:rPr>
              <a:t>учебной </a:t>
            </a:r>
            <a:r>
              <a:rPr lang="ru-RU" b="1" dirty="0">
                <a:solidFill>
                  <a:schemeClr val="bg1"/>
                </a:solidFill>
              </a:rPr>
              <a:t>дисциплины «Математика»</a:t>
            </a: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2645278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8368" y="335629"/>
            <a:ext cx="10515600" cy="480449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B0F0"/>
                </a:solidFill>
              </a:rPr>
              <a:t>Урок геометрии по модели Ротация станций. Станция «Готовимся к ОГЭ»</a:t>
            </a:r>
            <a:endParaRPr lang="ru-RU" sz="3200" b="1" dirty="0">
              <a:solidFill>
                <a:srgbClr val="00B0F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l="883" t="10735" r="8502" b="10561"/>
          <a:stretch/>
        </p:blipFill>
        <p:spPr>
          <a:xfrm>
            <a:off x="702718" y="1347017"/>
            <a:ext cx="10766899" cy="5260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107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8704" y="481781"/>
            <a:ext cx="10515600" cy="442451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 smtClean="0">
                <a:solidFill>
                  <a:srgbClr val="00B0F0"/>
                </a:solidFill>
              </a:rPr>
              <a:t/>
            </a:r>
            <a:br>
              <a:rPr lang="ru-RU" sz="3600" b="1" dirty="0" smtClean="0">
                <a:solidFill>
                  <a:srgbClr val="00B0F0"/>
                </a:solidFill>
              </a:rPr>
            </a:br>
            <a:r>
              <a:rPr lang="ru-RU" sz="3600" b="1" dirty="0" smtClean="0">
                <a:solidFill>
                  <a:srgbClr val="00B0F0"/>
                </a:solidFill>
              </a:rPr>
              <a:t>Урок </a:t>
            </a:r>
            <a:r>
              <a:rPr lang="ru-RU" sz="3600" b="1" dirty="0">
                <a:solidFill>
                  <a:srgbClr val="00B0F0"/>
                </a:solidFill>
              </a:rPr>
              <a:t>геометрии по модели Ротация </a:t>
            </a:r>
            <a:r>
              <a:rPr lang="ru-RU" sz="3600" b="1" dirty="0" smtClean="0">
                <a:solidFill>
                  <a:srgbClr val="00B0F0"/>
                </a:solidFill>
              </a:rPr>
              <a:t>станций. </a:t>
            </a:r>
            <a:r>
              <a:rPr lang="ru-RU" sz="3600" b="1" dirty="0" smtClean="0">
                <a:solidFill>
                  <a:srgbClr val="00B0F0"/>
                </a:solidFill>
              </a:rPr>
              <a:t>Рефлексия.</a:t>
            </a:r>
            <a:r>
              <a:rPr lang="ru-RU" b="1" dirty="0" smtClean="0">
                <a:solidFill>
                  <a:srgbClr val="00B0F0"/>
                </a:solidFill>
              </a:rPr>
              <a:t/>
            </a:r>
            <a:br>
              <a:rPr lang="ru-RU" b="1" dirty="0" smtClean="0">
                <a:solidFill>
                  <a:srgbClr val="00B0F0"/>
                </a:solidFill>
              </a:rPr>
            </a:br>
            <a:endParaRPr lang="ru-RU" b="1" dirty="0">
              <a:solidFill>
                <a:srgbClr val="00B0F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266565"/>
              </p:ext>
            </p:extLst>
          </p:nvPr>
        </p:nvGraphicFramePr>
        <p:xfrm>
          <a:off x="1189703" y="1376517"/>
          <a:ext cx="9910916" cy="476864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955458">
                  <a:extLst>
                    <a:ext uri="{9D8B030D-6E8A-4147-A177-3AD203B41FA5}">
                      <a16:colId xmlns:a16="http://schemas.microsoft.com/office/drawing/2014/main" val="4196280394"/>
                    </a:ext>
                  </a:extLst>
                </a:gridCol>
                <a:gridCol w="4955458">
                  <a:extLst>
                    <a:ext uri="{9D8B030D-6E8A-4147-A177-3AD203B41FA5}">
                      <a16:colId xmlns:a16="http://schemas.microsoft.com/office/drawing/2014/main" val="3454929249"/>
                    </a:ext>
                  </a:extLst>
                </a:gridCol>
              </a:tblGrid>
              <a:tr h="507450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На уроке я работал…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Пассивно/активно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7722309"/>
                  </a:ext>
                </a:extLst>
              </a:tr>
              <a:tr h="1251248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Материал урока мне был…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Понятен/непонятен</a:t>
                      </a:r>
                    </a:p>
                    <a:p>
                      <a:r>
                        <a:rPr lang="ru-RU" sz="2400" dirty="0" smtClean="0"/>
                        <a:t>Полезен/бесполезен</a:t>
                      </a:r>
                    </a:p>
                    <a:p>
                      <a:r>
                        <a:rPr lang="ru-RU" sz="2400" dirty="0" smtClean="0"/>
                        <a:t>Интересен/скучен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560392"/>
                  </a:ext>
                </a:extLst>
              </a:tr>
              <a:tr h="1626622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Самая трудная станция для меня была…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Станция 1 – Работа с учителем</a:t>
                      </a:r>
                    </a:p>
                    <a:p>
                      <a:r>
                        <a:rPr lang="ru-RU" sz="2400" dirty="0" smtClean="0"/>
                        <a:t>Станция 2 – </a:t>
                      </a:r>
                      <a:r>
                        <a:rPr lang="ru-RU" sz="2400" dirty="0" smtClean="0"/>
                        <a:t>Применяем</a:t>
                      </a:r>
                      <a:r>
                        <a:rPr lang="ru-RU" sz="2400" baseline="0" dirty="0" smtClean="0"/>
                        <a:t> в жизни</a:t>
                      </a:r>
                      <a:endParaRPr lang="ru-RU" sz="2400" dirty="0" smtClean="0"/>
                    </a:p>
                    <a:p>
                      <a:r>
                        <a:rPr lang="ru-RU" sz="2400" dirty="0" smtClean="0"/>
                        <a:t>Станция 3 – </a:t>
                      </a:r>
                      <a:r>
                        <a:rPr lang="ru-RU" sz="2400" dirty="0" smtClean="0"/>
                        <a:t>Готовимся к ОГЭ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6209018"/>
                  </a:ext>
                </a:extLst>
              </a:tr>
              <a:tr h="1383324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Больше всего на уроке мне понравилось…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Работать на станции….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99738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1025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6916" y="150394"/>
            <a:ext cx="10515600" cy="724677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 smtClean="0">
                <a:solidFill>
                  <a:srgbClr val="00B0F0"/>
                </a:solidFill>
              </a:rPr>
              <a:t>Станция работы с учителем </a:t>
            </a:r>
            <a:endParaRPr lang="ru-RU" sz="3200" b="1" dirty="0">
              <a:solidFill>
                <a:srgbClr val="00B0F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51387" y="1078671"/>
            <a:ext cx="11088330" cy="52322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2800" dirty="0" smtClean="0"/>
              <a:t>Цель: предоставить каждому ученику эффективную обратную связь. </a:t>
            </a:r>
            <a:endParaRPr lang="ru-RU" sz="28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45406" y="3607357"/>
            <a:ext cx="3205820" cy="238865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53064" y="2026519"/>
            <a:ext cx="765932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/>
              <a:t>Виды деятельности:</a:t>
            </a:r>
          </a:p>
          <a:p>
            <a:endParaRPr lang="ru-RU" sz="28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800" dirty="0" smtClean="0"/>
              <a:t>фронтальный </a:t>
            </a:r>
            <a:r>
              <a:rPr lang="ru-RU" sz="2800" dirty="0"/>
              <a:t>опрос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800" dirty="0" smtClean="0"/>
              <a:t>работа </a:t>
            </a:r>
            <a:r>
              <a:rPr lang="ru-RU" sz="2800" dirty="0"/>
              <a:t>с учебником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800" dirty="0" smtClean="0"/>
              <a:t>работа </a:t>
            </a:r>
            <a:r>
              <a:rPr lang="ru-RU" sz="2800" dirty="0"/>
              <a:t>с интерактивной доской, проектором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800" dirty="0" smtClean="0"/>
              <a:t>обратная </a:t>
            </a:r>
            <a:r>
              <a:rPr lang="ru-RU" sz="2800" dirty="0"/>
              <a:t>связь по результатам предыдущих этапов </a:t>
            </a:r>
            <a:r>
              <a:rPr lang="ru-RU" sz="2800" dirty="0" smtClean="0"/>
              <a:t>урока.</a:t>
            </a:r>
            <a:endParaRPr lang="ru-RU" sz="2800" dirty="0"/>
          </a:p>
          <a:p>
            <a:r>
              <a:rPr lang="ru-RU" sz="2400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727789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8368" y="207809"/>
            <a:ext cx="10515600" cy="480449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B0F0"/>
                </a:solidFill>
              </a:rPr>
              <a:t>Станция проектной/индивидуальной работы</a:t>
            </a:r>
            <a:endParaRPr lang="ru-RU" sz="3200" b="1" dirty="0">
              <a:solidFill>
                <a:srgbClr val="00B0F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70721" y="942383"/>
            <a:ext cx="11430894" cy="83099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2400" dirty="0" smtClean="0"/>
              <a:t>Цель: дать возможность применить знания и навыки в практических ситуациях, развить коммуникативные компетенции и получить обратную связь.</a:t>
            </a:r>
            <a:endParaRPr lang="ru-RU" sz="2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639097" y="2286365"/>
            <a:ext cx="732503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/>
              <a:t>Виды деятельности:</a:t>
            </a:r>
          </a:p>
          <a:p>
            <a:endParaRPr lang="ru-RU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/>
              <a:t>выполнение мини-проектов/исследований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/>
              <a:t>обсуждение ключевых вопросов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/>
              <a:t>выполнение игровых заданий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/>
              <a:t>выполнение заданий на функциональную грамотность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/>
              <a:t>работа с дидактическими карточками/рабочими </a:t>
            </a:r>
            <a:r>
              <a:rPr lang="ru-RU" sz="2400" dirty="0" smtClean="0"/>
              <a:t>листами</a:t>
            </a:r>
            <a:r>
              <a:rPr lang="ru-RU" sz="2400" dirty="0"/>
              <a:t>;</a:t>
            </a:r>
            <a:endParaRPr lang="ru-RU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400" dirty="0"/>
              <a:t>р</a:t>
            </a:r>
            <a:r>
              <a:rPr lang="ru-RU" sz="2400" dirty="0" smtClean="0"/>
              <a:t>ешение кейсов.</a:t>
            </a:r>
            <a:endParaRPr lang="ru-RU" sz="2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20202" t="14904" r="38955" b="18330"/>
          <a:stretch/>
        </p:blipFill>
        <p:spPr>
          <a:xfrm>
            <a:off x="7964129" y="2762864"/>
            <a:ext cx="3695048" cy="3397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057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67697" y="119131"/>
            <a:ext cx="10515600" cy="677094"/>
          </a:xfrm>
        </p:spPr>
        <p:txBody>
          <a:bodyPr>
            <a:normAutofit/>
          </a:bodyPr>
          <a:lstStyle/>
          <a:p>
            <a:pPr algn="ctr"/>
            <a:r>
              <a:rPr lang="ru-RU" sz="3200" b="1" dirty="0" smtClean="0">
                <a:solidFill>
                  <a:srgbClr val="00B0F0"/>
                </a:solidFill>
              </a:rPr>
              <a:t>Онлайн обучение</a:t>
            </a:r>
            <a:endParaRPr lang="ru-RU" sz="3200" b="1" dirty="0">
              <a:solidFill>
                <a:srgbClr val="00B0F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30045" y="841917"/>
            <a:ext cx="10960510" cy="95410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2800" dirty="0" smtClean="0"/>
              <a:t>Цель: дать ребёнку возможность развить навыки самостоятельной работы, ответственность, развить </a:t>
            </a:r>
            <a:r>
              <a:rPr lang="ru-RU" sz="2800" dirty="0" err="1" smtClean="0"/>
              <a:t>саморегуляцию</a:t>
            </a:r>
            <a:r>
              <a:rPr lang="ru-RU" sz="2800" dirty="0" smtClean="0"/>
              <a:t> и научиться учиться. </a:t>
            </a:r>
            <a:endParaRPr lang="ru-RU" sz="28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" b="92000" l="7483" r="92687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097876" y="3657600"/>
            <a:ext cx="3937241" cy="2678396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09599" y="2259086"/>
            <a:ext cx="7895304" cy="39414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9000"/>
              </a:lnSpc>
              <a:spcAft>
                <a:spcPts val="600"/>
              </a:spcAft>
            </a:pPr>
            <a:r>
              <a:rPr lang="ru-RU" sz="2400" b="1" kern="1400" dirty="0" smtClean="0">
                <a:solidFill>
                  <a:srgbClr val="000000"/>
                </a:solidFill>
              </a:rPr>
              <a:t>Виды деятельности:</a:t>
            </a:r>
            <a:endParaRPr lang="ru-RU" sz="2400" kern="1400" dirty="0">
              <a:solidFill>
                <a:srgbClr val="D16349"/>
              </a:solidFill>
            </a:endParaRPr>
          </a:p>
          <a:p>
            <a:pPr marL="342900" marR="0" indent="-342900" algn="just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400" kern="1400" dirty="0" smtClean="0">
                <a:solidFill>
                  <a:srgbClr val="000000"/>
                </a:solidFill>
              </a:rPr>
              <a:t>самостоятельное </a:t>
            </a:r>
            <a:r>
              <a:rPr lang="ru-RU" sz="2400" kern="1400" dirty="0">
                <a:solidFill>
                  <a:srgbClr val="000000"/>
                </a:solidFill>
              </a:rPr>
              <a:t>знакомство с новым материалом с использованием  информационно-образовательных сред (РЭШ);</a:t>
            </a:r>
            <a:endParaRPr lang="ru-RU" sz="2400" kern="1400" dirty="0">
              <a:solidFill>
                <a:srgbClr val="D16349"/>
              </a:solidFill>
            </a:endParaRPr>
          </a:p>
          <a:p>
            <a:pPr marL="342900" marR="0" indent="-342900" algn="just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400" kern="1400" dirty="0" smtClean="0">
                <a:solidFill>
                  <a:srgbClr val="000000"/>
                </a:solidFill>
              </a:rPr>
              <a:t>закрепление </a:t>
            </a:r>
            <a:r>
              <a:rPr lang="ru-RU" sz="2400" kern="1400" dirty="0">
                <a:solidFill>
                  <a:srgbClr val="000000"/>
                </a:solidFill>
              </a:rPr>
              <a:t>полученных знаний с помощью тренажеров (</a:t>
            </a:r>
            <a:r>
              <a:rPr lang="ru-RU" sz="2400" kern="1400" dirty="0" err="1">
                <a:solidFill>
                  <a:srgbClr val="000000"/>
                </a:solidFill>
              </a:rPr>
              <a:t>Learning.Apps</a:t>
            </a:r>
            <a:r>
              <a:rPr lang="ru-RU" sz="2400" kern="1400" dirty="0">
                <a:solidFill>
                  <a:srgbClr val="000000"/>
                </a:solidFill>
              </a:rPr>
              <a:t>, цифровые рабочие тетради и </a:t>
            </a:r>
            <a:r>
              <a:rPr lang="ru-RU" sz="2400" kern="1400" dirty="0" err="1">
                <a:solidFill>
                  <a:srgbClr val="000000"/>
                </a:solidFill>
              </a:rPr>
              <a:t>тд</a:t>
            </a:r>
            <a:r>
              <a:rPr lang="ru-RU" sz="2400" kern="1400" dirty="0">
                <a:solidFill>
                  <a:srgbClr val="000000"/>
                </a:solidFill>
              </a:rPr>
              <a:t>.)</a:t>
            </a:r>
            <a:endParaRPr lang="ru-RU" sz="2400" kern="1400" dirty="0">
              <a:solidFill>
                <a:srgbClr val="D16349"/>
              </a:solidFill>
            </a:endParaRPr>
          </a:p>
          <a:p>
            <a:pPr marL="342900" marR="0" indent="-342900" algn="just">
              <a:lnSpc>
                <a:spcPct val="119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400" kern="1400" dirty="0" smtClean="0">
                <a:solidFill>
                  <a:srgbClr val="000000"/>
                </a:solidFill>
              </a:rPr>
              <a:t>работа </a:t>
            </a:r>
            <a:r>
              <a:rPr lang="ru-RU" sz="2400" kern="1400" dirty="0">
                <a:solidFill>
                  <a:srgbClr val="000000"/>
                </a:solidFill>
              </a:rPr>
              <a:t>с электронным приложением к учебнику.</a:t>
            </a:r>
            <a:endParaRPr lang="ru-RU" sz="2400" kern="1400" dirty="0">
              <a:solidFill>
                <a:srgbClr val="D16349"/>
              </a:solidFill>
            </a:endParaRPr>
          </a:p>
          <a:p>
            <a:pPr>
              <a:lnSpc>
                <a:spcPct val="119000"/>
              </a:lnSpc>
              <a:spcAft>
                <a:spcPts val="600"/>
              </a:spcAft>
            </a:pPr>
            <a:r>
              <a:rPr lang="ru-RU" sz="1400" kern="1400" dirty="0">
                <a:solidFill>
                  <a:srgbClr val="000000"/>
                </a:solidFill>
                <a:latin typeface="Georgia" panose="02040502050405020303" pitchFamily="18" charset="0"/>
              </a:rPr>
              <a:t> </a:t>
            </a:r>
            <a:endParaRPr lang="ru-RU" sz="1400" kern="1400" dirty="0">
              <a:ln>
                <a:noFill/>
              </a:ln>
              <a:solidFill>
                <a:srgbClr val="000000"/>
              </a:solidFill>
              <a:effectLst/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3507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11045" y="303642"/>
            <a:ext cx="1010756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 smtClean="0">
                <a:solidFill>
                  <a:srgbClr val="00B0F0"/>
                </a:solidFill>
                <a:latin typeface="Calibri Light"/>
              </a:rPr>
              <a:t>Цифровые рабочие тетради как инструмент организации урока по модели Ротация станций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 Ligh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l="1050" t="4478" r="2938" b="6123"/>
          <a:stretch/>
        </p:blipFill>
        <p:spPr>
          <a:xfrm>
            <a:off x="1494503" y="1704250"/>
            <a:ext cx="9173498" cy="4804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95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11045" y="303642"/>
            <a:ext cx="101075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Верифицированный контент. Соответствует ФГОС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/>
          <a:srcRect l="24866" t="16117" r="14057" b="7012"/>
          <a:stretch/>
        </p:blipFill>
        <p:spPr>
          <a:xfrm>
            <a:off x="658760" y="1130710"/>
            <a:ext cx="6916257" cy="489646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24721" t="43493" r="50190" b="16063"/>
          <a:stretch/>
        </p:blipFill>
        <p:spPr>
          <a:xfrm>
            <a:off x="8032955" y="1907459"/>
            <a:ext cx="3556519" cy="322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471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01212" y="146326"/>
            <a:ext cx="101075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Верифицированный контент. Соответствует ФГОС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37163" t="42999" r="49904" b="19443"/>
          <a:stretch/>
        </p:blipFill>
        <p:spPr>
          <a:xfrm>
            <a:off x="5730243" y="1436226"/>
            <a:ext cx="2413543" cy="394273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74033" t="44226" r="13883" b="19549"/>
          <a:stretch/>
        </p:blipFill>
        <p:spPr>
          <a:xfrm>
            <a:off x="8731045" y="1569224"/>
            <a:ext cx="2259457" cy="380973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5"/>
          <a:srcRect l="49444" t="43940" r="38445" b="15352"/>
          <a:stretch/>
        </p:blipFill>
        <p:spPr>
          <a:xfrm>
            <a:off x="410092" y="939763"/>
            <a:ext cx="1605398" cy="303541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6"/>
          <a:srcRect l="24642" t="34813" r="62414" b="27098"/>
          <a:stretch/>
        </p:blipFill>
        <p:spPr>
          <a:xfrm>
            <a:off x="2453424" y="949973"/>
            <a:ext cx="1677669" cy="27768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7"/>
          <a:srcRect l="24820" t="34998" r="62599" b="26897"/>
          <a:stretch/>
        </p:blipFill>
        <p:spPr>
          <a:xfrm>
            <a:off x="2410802" y="3716594"/>
            <a:ext cx="1677669" cy="285825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8"/>
          <a:srcRect l="25454" t="44132" r="63237" b="16573"/>
          <a:stretch/>
        </p:blipFill>
        <p:spPr>
          <a:xfrm>
            <a:off x="410092" y="3716594"/>
            <a:ext cx="1562776" cy="3054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180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99534" y="156157"/>
            <a:ext cx="98322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Как создать задание?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4121" t="8302" r="2199" b="6744"/>
          <a:stretch/>
        </p:blipFill>
        <p:spPr>
          <a:xfrm>
            <a:off x="1199534" y="940139"/>
            <a:ext cx="10121190" cy="5162830"/>
          </a:xfrm>
          <a:prstGeom prst="rect">
            <a:avLst/>
          </a:prstGeom>
        </p:spPr>
      </p:pic>
      <p:sp>
        <p:nvSpPr>
          <p:cNvPr id="5" name="Овал 4"/>
          <p:cNvSpPr/>
          <p:nvPr/>
        </p:nvSpPr>
        <p:spPr>
          <a:xfrm>
            <a:off x="3008669" y="1307691"/>
            <a:ext cx="2153265" cy="244823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Овал 6"/>
          <p:cNvSpPr/>
          <p:nvPr/>
        </p:nvSpPr>
        <p:spPr bwMode="auto">
          <a:xfrm>
            <a:off x="2177842" y="5369307"/>
            <a:ext cx="2138519" cy="87131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7665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99534" y="156157"/>
            <a:ext cx="98322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Как создать задание?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l="2140" t="9512" r="1556" b="6441"/>
          <a:stretch/>
        </p:blipFill>
        <p:spPr>
          <a:xfrm>
            <a:off x="943895" y="802488"/>
            <a:ext cx="10638504" cy="5222539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 bwMode="auto">
          <a:xfrm>
            <a:off x="1902539" y="2006675"/>
            <a:ext cx="2138519" cy="87131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155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vogazeta.ru/uploads/1549953503-5254350fb5435ee37bb96fe708ba368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675" y="157390"/>
            <a:ext cx="5683966" cy="306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11293" t="20097" r="31978" b="24406"/>
          <a:stretch/>
        </p:blipFill>
        <p:spPr>
          <a:xfrm>
            <a:off x="6045167" y="3518899"/>
            <a:ext cx="6068064" cy="333910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13974" t="22790" r="33734" b="25119"/>
          <a:stretch/>
        </p:blipFill>
        <p:spPr>
          <a:xfrm>
            <a:off x="6236414" y="157389"/>
            <a:ext cx="5476439" cy="3068695"/>
          </a:xfrm>
          <a:prstGeom prst="rect">
            <a:avLst/>
          </a:prstGeom>
        </p:spPr>
      </p:pic>
      <p:pic>
        <p:nvPicPr>
          <p:cNvPr id="1030" name="Picture 6" descr="https://detkisuper.ru/wp-content/uploads/6/e/b/6ebd8212eb6c414aebfabf9acccd15a1.jpe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090" y="3444916"/>
            <a:ext cx="5210159" cy="3325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090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99534" y="156157"/>
            <a:ext cx="98322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Как создать задание?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r="972" b="8055"/>
          <a:stretch/>
        </p:blipFill>
        <p:spPr>
          <a:xfrm>
            <a:off x="1015707" y="890216"/>
            <a:ext cx="10224491" cy="5339911"/>
          </a:xfrm>
          <a:prstGeom prst="rect">
            <a:avLst/>
          </a:prstGeom>
        </p:spPr>
      </p:pic>
      <p:sp>
        <p:nvSpPr>
          <p:cNvPr id="6" name="Овал 5"/>
          <p:cNvSpPr/>
          <p:nvPr/>
        </p:nvSpPr>
        <p:spPr bwMode="auto">
          <a:xfrm>
            <a:off x="4485964" y="3393023"/>
            <a:ext cx="3259397" cy="87131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885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99534" y="156157"/>
            <a:ext cx="98322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Как создать задание?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16074" t="9066" r="16298" b="8326"/>
          <a:stretch/>
        </p:blipFill>
        <p:spPr>
          <a:xfrm>
            <a:off x="471950" y="802488"/>
            <a:ext cx="6056108" cy="416108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l="14781" t="10450" r="17981" b="8076"/>
          <a:stretch/>
        </p:blipFill>
        <p:spPr>
          <a:xfrm>
            <a:off x="5595705" y="2192594"/>
            <a:ext cx="6419315" cy="4375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842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455172" y="97163"/>
            <a:ext cx="94881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Как создать задание?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l="13934" t="9916" r="16188" b="6477"/>
          <a:stretch/>
        </p:blipFill>
        <p:spPr>
          <a:xfrm>
            <a:off x="1730477" y="884903"/>
            <a:ext cx="8514736" cy="5730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04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99534" y="156157"/>
            <a:ext cx="98322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Как создать задание?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r="279" b="6628"/>
          <a:stretch/>
        </p:blipFill>
        <p:spPr>
          <a:xfrm>
            <a:off x="1046892" y="904254"/>
            <a:ext cx="10137542" cy="5339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571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99534" y="156157"/>
            <a:ext cx="98322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Как проверить задание?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r="1511" b="19783"/>
          <a:stretch/>
        </p:blipFill>
        <p:spPr>
          <a:xfrm>
            <a:off x="462392" y="994661"/>
            <a:ext cx="11306542" cy="5179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96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99534" y="156157"/>
            <a:ext cx="98322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Когда применять?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5" name="Схема 4"/>
          <p:cNvGraphicFramePr/>
          <p:nvPr>
            <p:extLst/>
          </p:nvPr>
        </p:nvGraphicFramePr>
        <p:xfrm>
          <a:off x="865239" y="935977"/>
          <a:ext cx="10677831" cy="54058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4529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="http://schemas.openxmlformats.org/officeDocument/2006/math" xmlns:w="http://schemas.openxmlformats.org/wordprocessingml/2006/main">
      <p:transition advClick="1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07473" y="115743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ru-RU" sz="4000" b="1" dirty="0" smtClean="0">
                <a:solidFill>
                  <a:srgbClr val="00B0F0"/>
                </a:solidFill>
              </a:rPr>
              <a:t>Критический анализ модели </a:t>
            </a:r>
            <a:r>
              <a:rPr lang="ru-RU" sz="4000" b="1" dirty="0" smtClean="0">
                <a:solidFill>
                  <a:srgbClr val="00B0F0"/>
                </a:solidFill>
              </a:rPr>
              <a:t>Ротация </a:t>
            </a:r>
            <a:r>
              <a:rPr lang="ru-RU" sz="4000" b="1" dirty="0" smtClean="0">
                <a:solidFill>
                  <a:srgbClr val="00B0F0"/>
                </a:solidFill>
              </a:rPr>
              <a:t>станций </a:t>
            </a:r>
            <a:endParaRPr lang="ru-RU" sz="4000" b="1" dirty="0">
              <a:solidFill>
                <a:srgbClr val="00B0F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700719" y="1994685"/>
            <a:ext cx="5292437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FE5B12"/>
                </a:solidFill>
              </a:rPr>
              <a:t>Минусы</a:t>
            </a:r>
            <a:r>
              <a:rPr lang="ru-RU" sz="3600" b="1" dirty="0" smtClean="0">
                <a:solidFill>
                  <a:srgbClr val="FE5B12"/>
                </a:solidFill>
              </a:rPr>
              <a:t>:</a:t>
            </a:r>
          </a:p>
          <a:p>
            <a:pPr algn="ctr"/>
            <a:endParaRPr lang="ru-RU" sz="36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/>
              <a:t>Отсутствие готовой базы по предмету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 smtClean="0"/>
              <a:t>Высокая степень подготовки учителя</a:t>
            </a:r>
          </a:p>
          <a:p>
            <a:pPr algn="ctr"/>
            <a:endParaRPr lang="ru-RU" sz="3600" dirty="0"/>
          </a:p>
        </p:txBody>
      </p:sp>
      <p:sp>
        <p:nvSpPr>
          <p:cNvPr id="5" name="TextBox 4"/>
          <p:cNvSpPr txBox="1"/>
          <p:nvPr/>
        </p:nvSpPr>
        <p:spPr>
          <a:xfrm>
            <a:off x="750008" y="1994685"/>
            <a:ext cx="460663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FE5B12"/>
                </a:solidFill>
              </a:rPr>
              <a:t>Плюсы:</a:t>
            </a:r>
          </a:p>
          <a:p>
            <a:pPr algn="ctr"/>
            <a:endParaRPr lang="ru-RU" sz="32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800" dirty="0" smtClean="0"/>
              <a:t>Динамика</a:t>
            </a:r>
            <a:endParaRPr lang="ru-RU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800" dirty="0" smtClean="0"/>
              <a:t>Дифференцированная работа</a:t>
            </a:r>
            <a:endParaRPr lang="ru-RU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800" dirty="0" smtClean="0"/>
              <a:t>Разнообразные задания</a:t>
            </a:r>
            <a:endParaRPr lang="ru-RU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800" dirty="0" smtClean="0"/>
              <a:t>Не </a:t>
            </a:r>
            <a:r>
              <a:rPr lang="ru-RU" sz="2800" dirty="0"/>
              <a:t>требует много </a:t>
            </a:r>
            <a:r>
              <a:rPr lang="ru-RU" sz="2800" dirty="0" smtClean="0"/>
              <a:t>ресурсов</a:t>
            </a:r>
            <a:endParaRPr lang="ru-RU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800" dirty="0" smtClean="0"/>
              <a:t>Развитие </a:t>
            </a:r>
            <a:r>
              <a:rPr lang="ru-RU" sz="2800" dirty="0"/>
              <a:t>умения </a:t>
            </a:r>
            <a:r>
              <a:rPr lang="ru-RU" sz="2800" dirty="0" smtClean="0"/>
              <a:t>учиться; работать в группе.</a:t>
            </a:r>
            <a:endParaRPr lang="ru-RU" sz="2800" dirty="0"/>
          </a:p>
          <a:p>
            <a:r>
              <a:rPr lang="ru-RU" sz="2800" dirty="0"/>
              <a:t> </a:t>
            </a:r>
          </a:p>
        </p:txBody>
      </p:sp>
      <p:cxnSp>
        <p:nvCxnSpPr>
          <p:cNvPr id="6" name="Прямая со стрелкой 5"/>
          <p:cNvCxnSpPr/>
          <p:nvPr/>
        </p:nvCxnSpPr>
        <p:spPr>
          <a:xfrm flipH="1">
            <a:off x="2959863" y="1107994"/>
            <a:ext cx="789709" cy="1011382"/>
          </a:xfrm>
          <a:prstGeom prst="straightConnector1">
            <a:avLst/>
          </a:prstGeom>
          <a:ln w="76200">
            <a:solidFill>
              <a:srgbClr val="FE5B1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 стрелкой 6"/>
          <p:cNvCxnSpPr/>
          <p:nvPr/>
        </p:nvCxnSpPr>
        <p:spPr>
          <a:xfrm>
            <a:off x="8589708" y="1181651"/>
            <a:ext cx="864952" cy="937725"/>
          </a:xfrm>
          <a:prstGeom prst="straightConnector1">
            <a:avLst/>
          </a:prstGeom>
          <a:ln w="76200">
            <a:solidFill>
              <a:srgbClr val="FE5B1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8955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9090" y="365126"/>
            <a:ext cx="10314709" cy="568940"/>
          </a:xfrm>
        </p:spPr>
        <p:txBody>
          <a:bodyPr>
            <a:normAutofit fontScale="90000"/>
          </a:bodyPr>
          <a:lstStyle/>
          <a:p>
            <a:pPr algn="ctr"/>
            <a:r>
              <a:rPr lang="ru-RU" b="1" dirty="0" smtClean="0">
                <a:solidFill>
                  <a:srgbClr val="00B0F0"/>
                </a:solidFill>
              </a:rPr>
              <a:t>Требования для реализации: 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1681316"/>
            <a:ext cx="7243916" cy="4692292"/>
          </a:xfrm>
        </p:spPr>
        <p:txBody>
          <a:bodyPr/>
          <a:lstStyle/>
          <a:p>
            <a:r>
              <a:rPr lang="ru-RU" dirty="0" smtClean="0"/>
              <a:t>наличие в классе электронных устройств;</a:t>
            </a:r>
          </a:p>
          <a:p>
            <a:r>
              <a:rPr lang="ru-RU" dirty="0" smtClean="0"/>
              <a:t>умение учителя работать с малыми группами;</a:t>
            </a:r>
          </a:p>
          <a:p>
            <a:r>
              <a:rPr lang="ru-RU" dirty="0" smtClean="0"/>
              <a:t>умение реализовывать дифференцированный подход; </a:t>
            </a:r>
          </a:p>
          <a:p>
            <a:r>
              <a:rPr lang="ru-RU" dirty="0" smtClean="0"/>
              <a:t>готовность применять формирующее оцениванием;</a:t>
            </a:r>
          </a:p>
          <a:p>
            <a:r>
              <a:rPr lang="ru-RU" dirty="0" smtClean="0"/>
              <a:t>умение формировать учебную культуру класса.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29777" y="3208590"/>
            <a:ext cx="3426249" cy="342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81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14005" t="14694" r="31102" b="17462"/>
          <a:stretch/>
        </p:blipFill>
        <p:spPr>
          <a:xfrm>
            <a:off x="5278409" y="147484"/>
            <a:ext cx="5463575" cy="379830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20786" t="17353" r="40933" b="23074"/>
          <a:stretch/>
        </p:blipFill>
        <p:spPr>
          <a:xfrm>
            <a:off x="6015716" y="1885083"/>
            <a:ext cx="5568712" cy="487459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/>
          <a:srcRect l="17383" t="21898" r="34822" b="16161"/>
          <a:stretch/>
        </p:blipFill>
        <p:spPr>
          <a:xfrm>
            <a:off x="1004204" y="3233284"/>
            <a:ext cx="4837382" cy="3526393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981" y="147484"/>
            <a:ext cx="5011512" cy="3341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5365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2">
            <a:extLst>
              <a:ext uri="{FF2B5EF4-FFF2-40B4-BE49-F238E27FC236}">
                <a16:creationId xmlns:a16="http://schemas.microsoft.com/office/drawing/2014/main" id="{15D7FEF5-E316-6DB5-5EE8-C77AA1FF3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32280" y="5167794"/>
            <a:ext cx="5346419" cy="308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2813" rtl="0" eaLnBrk="1" fontAlgn="base" latinLnBrk="0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сылка на методическую мастерскую</a:t>
            </a:r>
            <a:endParaRPr kumimoji="0" lang="en-US" alt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850" y="1373495"/>
            <a:ext cx="2686769" cy="3587819"/>
          </a:xfrm>
          <a:prstGeom prst="rect">
            <a:avLst/>
          </a:prstGeom>
        </p:spPr>
      </p:pic>
      <p:sp>
        <p:nvSpPr>
          <p:cNvPr id="11" name="Подзаголовок 2">
            <a:extLst>
              <a:ext uri="{FF2B5EF4-FFF2-40B4-BE49-F238E27FC236}">
                <a16:creationId xmlns:a16="http://schemas.microsoft.com/office/drawing/2014/main" id="{15D7FEF5-E316-6DB5-5EE8-C77AA1FF3FA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6245" y="5142851"/>
            <a:ext cx="5928851" cy="6668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2813" rtl="0" eaLnBrk="1" fontAlgn="base" latinLnBrk="0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улигина Елена Сергеевна, </a:t>
            </a:r>
          </a:p>
          <a:p>
            <a:pPr marL="0" marR="0" lvl="0" indent="0" algn="l" defTabSz="912813" rtl="0" eaLnBrk="1" fontAlgn="base" latinLnBrk="0" hangingPunct="1">
              <a:lnSpc>
                <a:spcPts val="26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читель математики МБОУ «Селтинская СОШ»</a:t>
            </a:r>
            <a:endParaRPr kumimoji="0" lang="en-US" alt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/>
          <a:srcRect l="25543" t="6680" r="25353" b="5768"/>
          <a:stretch/>
        </p:blipFill>
        <p:spPr>
          <a:xfrm>
            <a:off x="7502013" y="1410434"/>
            <a:ext cx="3540440" cy="3550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783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7073" y="239352"/>
            <a:ext cx="10516511" cy="146316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855" y="1873513"/>
            <a:ext cx="4522712" cy="4203043"/>
          </a:xfrm>
          <a:prstGeom prst="rect">
            <a:avLst/>
          </a:prstGeom>
        </p:spPr>
      </p:pic>
      <p:sp>
        <p:nvSpPr>
          <p:cNvPr id="5" name="Объект 2"/>
          <p:cNvSpPr txBox="1">
            <a:spLocks/>
          </p:cNvSpPr>
          <p:nvPr/>
        </p:nvSpPr>
        <p:spPr>
          <a:xfrm>
            <a:off x="6489290" y="1632155"/>
            <a:ext cx="5485059" cy="363217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ru-RU" sz="2400" dirty="0" smtClean="0"/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ru-RU" sz="2400" dirty="0"/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sz="2400" dirty="0" smtClean="0"/>
              <a:t>Ротация станций – наиболее эффективная модель смешанного обучения, подразумевающая разделения класса на группы и дальнейшее перемещение группы со станции на станцию. 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404541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4000" b="1" dirty="0" smtClean="0">
                <a:solidFill>
                  <a:srgbClr val="00B0F0"/>
                </a:solidFill>
              </a:rPr>
              <a:t>Классификация станций по видам деятельности</a:t>
            </a:r>
            <a:endParaRPr lang="ru-RU" sz="4000" b="1" dirty="0">
              <a:solidFill>
                <a:srgbClr val="00B0F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80134" y="2440861"/>
            <a:ext cx="342785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/>
              <a:t>станция работы с учителем</a:t>
            </a:r>
            <a:endParaRPr lang="ru-RU" sz="32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553978" y="2885608"/>
            <a:ext cx="331251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 smtClean="0"/>
              <a:t>онлайн обучение </a:t>
            </a:r>
            <a:endParaRPr lang="ru-RU" sz="32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381591" y="2331610"/>
            <a:ext cx="367186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dirty="0" smtClean="0"/>
              <a:t>станция проектной/</a:t>
            </a:r>
          </a:p>
          <a:p>
            <a:pPr algn="ctr"/>
            <a:r>
              <a:rPr lang="ru-RU" sz="3200" dirty="0" smtClean="0"/>
              <a:t>индивидуальной  работы</a:t>
            </a:r>
            <a:endParaRPr lang="ru-RU" sz="3200" dirty="0"/>
          </a:p>
        </p:txBody>
      </p:sp>
      <p:cxnSp>
        <p:nvCxnSpPr>
          <p:cNvPr id="8" name="Прямая со стрелкой 7"/>
          <p:cNvCxnSpPr/>
          <p:nvPr/>
        </p:nvCxnSpPr>
        <p:spPr>
          <a:xfrm flipH="1">
            <a:off x="2765899" y="1320228"/>
            <a:ext cx="789709" cy="1011382"/>
          </a:xfrm>
          <a:prstGeom prst="straightConnector1">
            <a:avLst/>
          </a:prstGeom>
          <a:ln w="76200">
            <a:solidFill>
              <a:srgbClr val="FE5B1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>
            <a:off x="6273017" y="1568023"/>
            <a:ext cx="24209" cy="1317585"/>
          </a:xfrm>
          <a:prstGeom prst="straightConnector1">
            <a:avLst/>
          </a:prstGeom>
          <a:ln w="76200">
            <a:solidFill>
              <a:srgbClr val="FE5B1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>
            <a:off x="9199408" y="1252930"/>
            <a:ext cx="969829" cy="937414"/>
          </a:xfrm>
          <a:prstGeom prst="straightConnector1">
            <a:avLst/>
          </a:prstGeom>
          <a:ln w="76200">
            <a:solidFill>
              <a:srgbClr val="FE5B1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61203" y="3760274"/>
            <a:ext cx="3246783" cy="2419172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929" t="23629" r="-929" b="19677"/>
          <a:stretch/>
        </p:blipFill>
        <p:spPr>
          <a:xfrm>
            <a:off x="8543434" y="4147834"/>
            <a:ext cx="3648566" cy="215523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" b="92000" l="7483" r="92687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85571" y="3491517"/>
            <a:ext cx="3631905" cy="2470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682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828368" y="207809"/>
            <a:ext cx="10515600" cy="125719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 Light" panose="020F0302020204030204" pitchFamily="34" charset="0"/>
              </a:defRPr>
            </a:lvl9pPr>
          </a:lstStyle>
          <a:p>
            <a:pPr algn="ctr"/>
            <a:r>
              <a:rPr lang="ru-RU" sz="3200" b="1" dirty="0" smtClean="0">
                <a:solidFill>
                  <a:srgbClr val="00B0F0"/>
                </a:solidFill>
              </a:rPr>
              <a:t>Планирование работы по модели «Ротация станций»</a:t>
            </a:r>
            <a:endParaRPr lang="ru-RU" sz="3200" b="1" dirty="0">
              <a:solidFill>
                <a:srgbClr val="00B0F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17756" y="1297859"/>
            <a:ext cx="1113994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/>
              <a:t>Придумайте </a:t>
            </a:r>
            <a:r>
              <a:rPr lang="ru-RU" sz="2000" dirty="0"/>
              <a:t>активности на каждую станцию. Подготовьте инструкции для ребят , чек-листы</a:t>
            </a:r>
            <a:r>
              <a:rPr lang="ru-RU" sz="2000" dirty="0" smtClean="0"/>
              <a:t>.</a:t>
            </a:r>
            <a:endParaRPr lang="ru-RU" sz="20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/>
              <a:t>Определите </a:t>
            </a:r>
            <a:r>
              <a:rPr lang="ru-RU" sz="2000" dirty="0"/>
              <a:t>количество времени для работы на каждой станции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/>
              <a:t>На </a:t>
            </a:r>
            <a:r>
              <a:rPr lang="ru-RU" sz="2000" dirty="0"/>
              <a:t>уроке расскажите, как организована работа, покажите схему ротации станций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/>
              <a:t>Четко </a:t>
            </a:r>
            <a:r>
              <a:rPr lang="ru-RU" sz="2000" dirty="0"/>
              <a:t>опишите правила работы на станциях. Объясните, почему так организована работа. Ответьте на вопросы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/>
              <a:t>Смело </a:t>
            </a:r>
            <a:r>
              <a:rPr lang="ru-RU" sz="2000" dirty="0"/>
              <a:t>приступайте к работе и будьте готовы к тому, что с первого раза может не получиться так, как вы ожидали.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2000" dirty="0" smtClean="0"/>
              <a:t>Наблюдайте </a:t>
            </a:r>
            <a:r>
              <a:rPr lang="ru-RU" sz="2000" dirty="0"/>
              <a:t>за учениками. Используя формирующее оценивание, вносите коррективы в учебный процесс.</a:t>
            </a:r>
          </a:p>
          <a:p>
            <a:r>
              <a:rPr lang="ru-RU" sz="2000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578391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8368" y="207809"/>
            <a:ext cx="10515600" cy="480449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B0F0"/>
                </a:solidFill>
              </a:rPr>
              <a:t>Урок геометрии по модели Ротация станций</a:t>
            </a:r>
            <a:endParaRPr lang="ru-RU" sz="3200" b="1" dirty="0">
              <a:solidFill>
                <a:srgbClr val="00B0F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l="23413" t="27197" r="22209" b="8163"/>
          <a:stretch/>
        </p:blipFill>
        <p:spPr>
          <a:xfrm>
            <a:off x="625184" y="983226"/>
            <a:ext cx="4674402" cy="312557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23828" t="24046" r="21748" b="11020"/>
          <a:stretch/>
        </p:blipFill>
        <p:spPr>
          <a:xfrm>
            <a:off x="6646606" y="1042614"/>
            <a:ext cx="4817806" cy="323331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/>
          <a:srcRect l="24031" t="25997" r="21822" b="10014"/>
          <a:stretch/>
        </p:blipFill>
        <p:spPr>
          <a:xfrm>
            <a:off x="3588585" y="3480619"/>
            <a:ext cx="4650847" cy="3091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785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8368" y="207809"/>
            <a:ext cx="10515600" cy="480449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B0F0"/>
                </a:solidFill>
              </a:rPr>
              <a:t>Урок геометрии по модели Ротация станций</a:t>
            </a:r>
            <a:endParaRPr lang="ru-RU" sz="3200" b="1" dirty="0">
              <a:solidFill>
                <a:srgbClr val="00B0F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24834" t="23618" r="24869" b="9235"/>
          <a:stretch/>
        </p:blipFill>
        <p:spPr>
          <a:xfrm>
            <a:off x="2504403" y="1140543"/>
            <a:ext cx="7013223" cy="5266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585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8368" y="335629"/>
            <a:ext cx="10515600" cy="480449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B0F0"/>
                </a:solidFill>
              </a:rPr>
              <a:t>Урок геометрии по модели Ротация станций. Станция «Применяем в жизни»</a:t>
            </a:r>
            <a:endParaRPr lang="ru-RU" sz="3200" b="1" dirty="0">
              <a:solidFill>
                <a:srgbClr val="00B0F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/>
          <a:srcRect l="22926" t="25400" r="20737" b="8803"/>
          <a:stretch/>
        </p:blipFill>
        <p:spPr>
          <a:xfrm>
            <a:off x="2133600" y="1111045"/>
            <a:ext cx="8072284" cy="5303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372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28368" y="335629"/>
            <a:ext cx="10515600" cy="480449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B0F0"/>
                </a:solidFill>
              </a:rPr>
              <a:t>Урок геометрии по модели Ротация станций. Станция «Готовимся к ОГЭ»</a:t>
            </a:r>
            <a:endParaRPr lang="ru-RU" sz="3200" b="1" dirty="0">
              <a:solidFill>
                <a:srgbClr val="00B0F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1361" t="10077" r="9339" b="15145"/>
          <a:stretch/>
        </p:blipFill>
        <p:spPr>
          <a:xfrm>
            <a:off x="828368" y="1376515"/>
            <a:ext cx="10729414" cy="5053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453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8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9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0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_Титульны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итульны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6</TotalTime>
  <Words>558</Words>
  <Application>Microsoft Office PowerPoint</Application>
  <PresentationFormat>Широкоэкранный</PresentationFormat>
  <Paragraphs>104</Paragraphs>
  <Slides>2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48" baseType="lpstr">
      <vt:lpstr>Arial</vt:lpstr>
      <vt:lpstr>Calibri</vt:lpstr>
      <vt:lpstr>Calibri Light</vt:lpstr>
      <vt:lpstr>Georgia</vt:lpstr>
      <vt:lpstr>Тема Office</vt:lpstr>
      <vt:lpstr>Титульный слайд</vt:lpstr>
      <vt:lpstr>Светлые слайды</vt:lpstr>
      <vt:lpstr>1_Светлые слайды</vt:lpstr>
      <vt:lpstr>2_Светлые слайды</vt:lpstr>
      <vt:lpstr>3_Светлые слайды</vt:lpstr>
      <vt:lpstr>4_Светлые слайды</vt:lpstr>
      <vt:lpstr>5_Светлые слайды</vt:lpstr>
      <vt:lpstr>6_Светлые слайды</vt:lpstr>
      <vt:lpstr>7_Светлые слайды</vt:lpstr>
      <vt:lpstr>8_Светлые слайды</vt:lpstr>
      <vt:lpstr>9_Светлые слайды</vt:lpstr>
      <vt:lpstr>10_Светлые слайды</vt:lpstr>
      <vt:lpstr>1_Титульный слайд</vt:lpstr>
      <vt:lpstr>Слайд think-cell</vt:lpstr>
      <vt:lpstr>Презентация PowerPoint</vt:lpstr>
      <vt:lpstr>Презентация PowerPoint</vt:lpstr>
      <vt:lpstr>Презентация PowerPoint</vt:lpstr>
      <vt:lpstr>Классификация станций по видам деятельности</vt:lpstr>
      <vt:lpstr>Презентация PowerPoint</vt:lpstr>
      <vt:lpstr>Урок геометрии по модели Ротация станций</vt:lpstr>
      <vt:lpstr>Урок геометрии по модели Ротация станций</vt:lpstr>
      <vt:lpstr>Урок геометрии по модели Ротация станций. Станция «Применяем в жизни»</vt:lpstr>
      <vt:lpstr>Урок геометрии по модели Ротация станций. Станция «Готовимся к ОГЭ»</vt:lpstr>
      <vt:lpstr>Урок геометрии по модели Ротация станций. Станция «Готовимся к ОГЭ»</vt:lpstr>
      <vt:lpstr> Урок геометрии по модели Ротация станций. Рефлексия. </vt:lpstr>
      <vt:lpstr>Станция работы с учителем </vt:lpstr>
      <vt:lpstr>Станция проектной/индивидуальной работы</vt:lpstr>
      <vt:lpstr>Онлайн обучени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ритический анализ модели Ротация станций </vt:lpstr>
      <vt:lpstr>Требования для реализации: 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одель ротации станций</dc:title>
  <dc:creator>Юзер</dc:creator>
  <cp:lastModifiedBy>student_3</cp:lastModifiedBy>
  <cp:revision>64</cp:revision>
  <dcterms:created xsi:type="dcterms:W3CDTF">2020-10-09T18:37:58Z</dcterms:created>
  <dcterms:modified xsi:type="dcterms:W3CDTF">2024-01-15T09:0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803421</vt:lpwstr>
  </property>
  <property fmtid="{D5CDD505-2E9C-101B-9397-08002B2CF9AE}" pid="3" name="NXPowerLiteSettings">
    <vt:lpwstr>C7000400038000</vt:lpwstr>
  </property>
  <property fmtid="{D5CDD505-2E9C-101B-9397-08002B2CF9AE}" pid="4" name="NXPowerLiteVersion">
    <vt:lpwstr>S9.0.1</vt:lpwstr>
  </property>
</Properties>
</file>